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2.xml" ContentType="application/vnd.openxmlformats-officedocument.theme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3.xml" ContentType="application/vnd.openxmlformats-officedocument.theme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theme/theme4.xml" ContentType="application/vnd.openxmlformats-officedocument.theme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theme/theme5.xml" ContentType="application/vnd.openxmlformats-officedocument.theme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theme/theme6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theme/themeOverride4.xml" ContentType="application/vnd.openxmlformats-officedocument.themeOverride+xml"/>
  <Override PartName="/ppt/charts/chart5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5.xml" ContentType="application/vnd.openxmlformats-officedocument.themeOverride+xml"/>
  <Override PartName="/ppt/charts/chart6.xml" ContentType="application/vnd.openxmlformats-officedocument.drawingml.chart+xml"/>
  <Override PartName="/ppt/theme/themeOverride6.xml" ContentType="application/vnd.openxmlformats-officedocument.themeOverr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7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7.xml" ContentType="application/vnd.openxmlformats-officedocument.themeOverride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3" r:id="rId4"/>
    <p:sldMasterId id="2147483699" r:id="rId5"/>
    <p:sldMasterId id="2147483729" r:id="rId6"/>
    <p:sldMasterId id="2147483759" r:id="rId7"/>
    <p:sldMasterId id="2147483789" r:id="rId8"/>
    <p:sldMasterId id="2147483819" r:id="rId9"/>
  </p:sldMasterIdLst>
  <p:notesMasterIdLst>
    <p:notesMasterId r:id="rId17"/>
  </p:notesMasterIdLst>
  <p:handoutMasterIdLst>
    <p:handoutMasterId r:id="rId18"/>
  </p:handoutMasterIdLst>
  <p:sldIdLst>
    <p:sldId id="742" r:id="rId10"/>
    <p:sldId id="747" r:id="rId11"/>
    <p:sldId id="750" r:id="rId12"/>
    <p:sldId id="749" r:id="rId13"/>
    <p:sldId id="743" r:id="rId14"/>
    <p:sldId id="745" r:id="rId15"/>
    <p:sldId id="748" r:id="rId16"/>
  </p:sldIdLst>
  <p:sldSz cx="12192000" cy="6858000"/>
  <p:notesSz cx="6797675" cy="9926638"/>
  <p:custDataLst>
    <p:tags r:id="rId19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35" userDrawn="1">
          <p15:clr>
            <a:srgbClr val="A4A3A4"/>
          </p15:clr>
        </p15:guide>
        <p15:guide id="4" pos="3727" userDrawn="1">
          <p15:clr>
            <a:srgbClr val="A4A3A4"/>
          </p15:clr>
        </p15:guide>
        <p15:guide id="5" pos="234" userDrawn="1">
          <p15:clr>
            <a:srgbClr val="A4A3A4"/>
          </p15:clr>
        </p15:guide>
        <p15:guide id="6" pos="3976" userDrawn="1">
          <p15:clr>
            <a:srgbClr val="A4A3A4"/>
          </p15:clr>
        </p15:guide>
        <p15:guide id="7" pos="7446" userDrawn="1">
          <p15:clr>
            <a:srgbClr val="A4A3A4"/>
          </p15:clr>
        </p15:guide>
        <p15:guide id="8" orient="horz" pos="3952" userDrawn="1">
          <p15:clr>
            <a:srgbClr val="A4A3A4"/>
          </p15:clr>
        </p15:guide>
        <p15:guide id="9" orient="horz" pos="320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Yvonne Jemal" initials="YJ" lastIdx="1" clrIdx="0">
    <p:extLst>
      <p:ext uri="{19B8F6BF-5375-455C-9EA6-DF929625EA0E}">
        <p15:presenceInfo xmlns:p15="http://schemas.microsoft.com/office/powerpoint/2012/main" userId="S::yvonne.jemal@lichtblick.de::622fc671-22f5-457f-9065-680bc9454cd9" providerId="AD"/>
      </p:ext>
    </p:extLst>
  </p:cmAuthor>
  <p:cmAuthor id="2" name="Bettina Hinken" initials="BH" lastIdx="4" clrIdx="1">
    <p:extLst>
      <p:ext uri="{19B8F6BF-5375-455C-9EA6-DF929625EA0E}">
        <p15:presenceInfo xmlns:p15="http://schemas.microsoft.com/office/powerpoint/2012/main" userId="S::bettina.hinken@lichtblick.de::9646a4b2-77c5-43ef-9712-d11c1d0cdbd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5050"/>
    <a:srgbClr val="008000"/>
    <a:srgbClr val="FBA533"/>
    <a:srgbClr val="FCBC67"/>
    <a:srgbClr val="33CC33"/>
    <a:srgbClr val="A5EDA1"/>
    <a:srgbClr val="000000"/>
    <a:srgbClr val="D1D1D1"/>
    <a:srgbClr val="7390A1"/>
    <a:srgbClr val="40404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6EBF7D6-4402-4576-B992-53BFA8225EA4}" v="100" dt="2022-01-12T18:20:43.815"/>
    <p1510:client id="{7C1F0B68-84D0-4842-9BF2-264E2C0916BA}" v="119" dt="2022-01-13T12:31:51.51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2135" autoAdjust="0"/>
  </p:normalViewPr>
  <p:slideViewPr>
    <p:cSldViewPr snapToGrid="0">
      <p:cViewPr varScale="1">
        <p:scale>
          <a:sx n="92" d="100"/>
          <a:sy n="92" d="100"/>
        </p:scale>
        <p:origin x="144" y="480"/>
      </p:cViewPr>
      <p:guideLst>
        <p:guide orient="horz" pos="935"/>
        <p:guide pos="3727"/>
        <p:guide pos="234"/>
        <p:guide pos="3976"/>
        <p:guide pos="7446"/>
        <p:guide orient="horz" pos="3952"/>
        <p:guide orient="horz" pos="3203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4.xml"/><Relationship Id="rId18" Type="http://schemas.openxmlformats.org/officeDocument/2006/relationships/handoutMaster" Target="handoutMasters/handoutMaster1.xml"/><Relationship Id="rId26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notesMaster" Target="notesMasters/notesMaster1.xml"/><Relationship Id="rId25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6.xml"/><Relationship Id="rId23" Type="http://schemas.openxmlformats.org/officeDocument/2006/relationships/theme" Target="theme/theme1.xml"/><Relationship Id="rId10" Type="http://schemas.openxmlformats.org/officeDocument/2006/relationships/slide" Target="slides/slide1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uud Wijtvliet" userId="f269e1fc-1721-4a7b-893a-9a007a1a3fa4" providerId="ADAL" clId="{D9472662-1444-4DD6-8C69-F3968712F362}"/>
    <pc:docChg chg="custSel modSld">
      <pc:chgData name="Ruud Wijtvliet" userId="f269e1fc-1721-4a7b-893a-9a007a1a3fa4" providerId="ADAL" clId="{D9472662-1444-4DD6-8C69-F3968712F362}" dt="2021-12-14T18:25:09.107" v="759" actId="20577"/>
      <pc:docMkLst>
        <pc:docMk/>
      </pc:docMkLst>
      <pc:sldChg chg="modSp mod">
        <pc:chgData name="Ruud Wijtvliet" userId="f269e1fc-1721-4a7b-893a-9a007a1a3fa4" providerId="ADAL" clId="{D9472662-1444-4DD6-8C69-F3968712F362}" dt="2021-12-14T18:25:09.107" v="759" actId="20577"/>
        <pc:sldMkLst>
          <pc:docMk/>
          <pc:sldMk cId="2796724944" sldId="742"/>
        </pc:sldMkLst>
        <pc:spChg chg="mod">
          <ac:chgData name="Ruud Wijtvliet" userId="f269e1fc-1721-4a7b-893a-9a007a1a3fa4" providerId="ADAL" clId="{D9472662-1444-4DD6-8C69-F3968712F362}" dt="2021-12-14T18:25:05.998" v="753" actId="6549"/>
          <ac:spMkLst>
            <pc:docMk/>
            <pc:sldMk cId="2796724944" sldId="742"/>
            <ac:spMk id="4" creationId="{9EB2C8E0-C48E-41BA-B15A-7B21F2FFBC6F}"/>
          </ac:spMkLst>
        </pc:spChg>
        <pc:spChg chg="mod">
          <ac:chgData name="Ruud Wijtvliet" userId="f269e1fc-1721-4a7b-893a-9a007a1a3fa4" providerId="ADAL" clId="{D9472662-1444-4DD6-8C69-F3968712F362}" dt="2021-12-14T18:25:09.107" v="759" actId="20577"/>
          <ac:spMkLst>
            <pc:docMk/>
            <pc:sldMk cId="2796724944" sldId="742"/>
            <ac:spMk id="5" creationId="{AEDF66BC-5AD4-4E2A-827C-646F8D625EC8}"/>
          </ac:spMkLst>
        </pc:spChg>
      </pc:sldChg>
      <pc:sldChg chg="addSp delSp modSp mod">
        <pc:chgData name="Ruud Wijtvliet" userId="f269e1fc-1721-4a7b-893a-9a007a1a3fa4" providerId="ADAL" clId="{D9472662-1444-4DD6-8C69-F3968712F362}" dt="2021-12-14T18:24:59.492" v="751"/>
        <pc:sldMkLst>
          <pc:docMk/>
          <pc:sldMk cId="1940290106" sldId="744"/>
        </pc:sldMkLst>
        <pc:spChg chg="mod">
          <ac:chgData name="Ruud Wijtvliet" userId="f269e1fc-1721-4a7b-893a-9a007a1a3fa4" providerId="ADAL" clId="{D9472662-1444-4DD6-8C69-F3968712F362}" dt="2021-12-14T18:08:32.636" v="3" actId="20577"/>
          <ac:spMkLst>
            <pc:docMk/>
            <pc:sldMk cId="1940290106" sldId="744"/>
            <ac:spMk id="3" creationId="{D13F8F9A-CAC6-4C84-865B-80CE7419DAE2}"/>
          </ac:spMkLst>
        </pc:spChg>
        <pc:spChg chg="del mod">
          <ac:chgData name="Ruud Wijtvliet" userId="f269e1fc-1721-4a7b-893a-9a007a1a3fa4" providerId="ADAL" clId="{D9472662-1444-4DD6-8C69-F3968712F362}" dt="2021-12-14T18:24:59.492" v="751"/>
          <ac:spMkLst>
            <pc:docMk/>
            <pc:sldMk cId="1940290106" sldId="744"/>
            <ac:spMk id="8" creationId="{EE469F25-DA06-4118-9B15-4DEC3DA74821}"/>
          </ac:spMkLst>
        </pc:spChg>
        <pc:spChg chg="mod">
          <ac:chgData name="Ruud Wijtvliet" userId="f269e1fc-1721-4a7b-893a-9a007a1a3fa4" providerId="ADAL" clId="{D9472662-1444-4DD6-8C69-F3968712F362}" dt="2021-12-14T18:24:53.900" v="749" actId="14100"/>
          <ac:spMkLst>
            <pc:docMk/>
            <pc:sldMk cId="1940290106" sldId="744"/>
            <ac:spMk id="20" creationId="{852BA679-15C5-4D62-AE13-FA792CC308D3}"/>
          </ac:spMkLst>
        </pc:spChg>
        <pc:graphicFrameChg chg="del">
          <ac:chgData name="Ruud Wijtvliet" userId="f269e1fc-1721-4a7b-893a-9a007a1a3fa4" providerId="ADAL" clId="{D9472662-1444-4DD6-8C69-F3968712F362}" dt="2021-12-14T18:08:38.229" v="4" actId="478"/>
          <ac:graphicFrameMkLst>
            <pc:docMk/>
            <pc:sldMk cId="1940290106" sldId="744"/>
            <ac:graphicFrameMk id="11" creationId="{AF4DBFC2-8B31-443D-BF41-80BD23A33A0D}"/>
          </ac:graphicFrameMkLst>
        </pc:graphicFrameChg>
        <pc:graphicFrameChg chg="del mod">
          <ac:chgData name="Ruud Wijtvliet" userId="f269e1fc-1721-4a7b-893a-9a007a1a3fa4" providerId="ADAL" clId="{D9472662-1444-4DD6-8C69-F3968712F362}" dt="2021-12-14T18:09:51.843" v="7" actId="478"/>
          <ac:graphicFrameMkLst>
            <pc:docMk/>
            <pc:sldMk cId="1940290106" sldId="744"/>
            <ac:graphicFrameMk id="12" creationId="{BAF16DB9-635B-4F0F-971D-9CBDA2C93D12}"/>
          </ac:graphicFrameMkLst>
        </pc:graphicFrameChg>
        <pc:graphicFrameChg chg="add mod">
          <ac:chgData name="Ruud Wijtvliet" userId="f269e1fc-1721-4a7b-893a-9a007a1a3fa4" providerId="ADAL" clId="{D9472662-1444-4DD6-8C69-F3968712F362}" dt="2021-12-14T18:09:57.392" v="10"/>
          <ac:graphicFrameMkLst>
            <pc:docMk/>
            <pc:sldMk cId="1940290106" sldId="744"/>
            <ac:graphicFrameMk id="13" creationId="{B18E264E-AC7E-41B0-B09E-E385B316BE18}"/>
          </ac:graphicFrameMkLst>
        </pc:graphicFrameChg>
        <pc:graphicFrameChg chg="add mod">
          <ac:chgData name="Ruud Wijtvliet" userId="f269e1fc-1721-4a7b-893a-9a007a1a3fa4" providerId="ADAL" clId="{D9472662-1444-4DD6-8C69-F3968712F362}" dt="2021-12-14T18:10:08.710" v="22" actId="14100"/>
          <ac:graphicFrameMkLst>
            <pc:docMk/>
            <pc:sldMk cId="1940290106" sldId="744"/>
            <ac:graphicFrameMk id="14" creationId="{B18E264E-AC7E-41B0-B09E-E385B316BE18}"/>
          </ac:graphicFrameMkLst>
        </pc:graphicFrameChg>
        <pc:graphicFrameChg chg="add mod">
          <ac:chgData name="Ruud Wijtvliet" userId="f269e1fc-1721-4a7b-893a-9a007a1a3fa4" providerId="ADAL" clId="{D9472662-1444-4DD6-8C69-F3968712F362}" dt="2021-12-14T18:14:16.789" v="156"/>
          <ac:graphicFrameMkLst>
            <pc:docMk/>
            <pc:sldMk cId="1940290106" sldId="744"/>
            <ac:graphicFrameMk id="15" creationId="{B64A2DE0-8A92-41BE-8246-FBF2FEE62422}"/>
          </ac:graphicFrameMkLst>
        </pc:graphicFrameChg>
        <pc:graphicFrameChg chg="add mod">
          <ac:chgData name="Ruud Wijtvliet" userId="f269e1fc-1721-4a7b-893a-9a007a1a3fa4" providerId="ADAL" clId="{D9472662-1444-4DD6-8C69-F3968712F362}" dt="2021-12-14T18:14:22.610" v="160" actId="1076"/>
          <ac:graphicFrameMkLst>
            <pc:docMk/>
            <pc:sldMk cId="1940290106" sldId="744"/>
            <ac:graphicFrameMk id="16" creationId="{B64A2DE0-8A92-41BE-8246-FBF2FEE62422}"/>
          </ac:graphicFrameMkLst>
        </pc:graphicFrameChg>
        <pc:picChg chg="add del">
          <ac:chgData name="Ruud Wijtvliet" userId="f269e1fc-1721-4a7b-893a-9a007a1a3fa4" providerId="ADAL" clId="{D9472662-1444-4DD6-8C69-F3968712F362}" dt="2021-12-14T18:10:03.317" v="18"/>
          <ac:picMkLst>
            <pc:docMk/>
            <pc:sldMk cId="1940290106" sldId="744"/>
            <ac:picMk id="7" creationId="{A0494A93-64C4-495F-ACBD-27C969C9D661}"/>
          </ac:picMkLst>
        </pc:picChg>
      </pc:sldChg>
    </pc:docChg>
  </pc:docChgLst>
  <pc:docChgLst>
    <pc:chgData name="Ruud Wijtvliet" userId="f269e1fc-1721-4a7b-893a-9a007a1a3fa4" providerId="ADAL" clId="{55240A23-9DFD-4D0F-93E2-6E3EE9717C3D}"/>
    <pc:docChg chg="modSld">
      <pc:chgData name="Ruud Wijtvliet" userId="f269e1fc-1721-4a7b-893a-9a007a1a3fa4" providerId="ADAL" clId="{55240A23-9DFD-4D0F-93E2-6E3EE9717C3D}" dt="2022-01-12T18:34:42.093" v="1" actId="6549"/>
      <pc:docMkLst>
        <pc:docMk/>
      </pc:docMkLst>
      <pc:sldChg chg="modSp mod">
        <pc:chgData name="Ruud Wijtvliet" userId="f269e1fc-1721-4a7b-893a-9a007a1a3fa4" providerId="ADAL" clId="{55240A23-9DFD-4D0F-93E2-6E3EE9717C3D}" dt="2022-01-12T18:34:42.093" v="1" actId="6549"/>
        <pc:sldMkLst>
          <pc:docMk/>
          <pc:sldMk cId="3092728457" sldId="747"/>
        </pc:sldMkLst>
        <pc:spChg chg="mod">
          <ac:chgData name="Ruud Wijtvliet" userId="f269e1fc-1721-4a7b-893a-9a007a1a3fa4" providerId="ADAL" clId="{55240A23-9DFD-4D0F-93E2-6E3EE9717C3D}" dt="2022-01-12T18:34:26.274" v="0" actId="20577"/>
          <ac:spMkLst>
            <pc:docMk/>
            <pc:sldMk cId="3092728457" sldId="747"/>
            <ac:spMk id="5" creationId="{6A26191C-A2DD-4360-B9B8-230D1D96EF51}"/>
          </ac:spMkLst>
        </pc:spChg>
        <pc:spChg chg="mod">
          <ac:chgData name="Ruud Wijtvliet" userId="f269e1fc-1721-4a7b-893a-9a007a1a3fa4" providerId="ADAL" clId="{55240A23-9DFD-4D0F-93E2-6E3EE9717C3D}" dt="2022-01-12T18:34:42.093" v="1" actId="6549"/>
          <ac:spMkLst>
            <pc:docMk/>
            <pc:sldMk cId="3092728457" sldId="747"/>
            <ac:spMk id="13" creationId="{CF62BC13-FD9C-41ED-9EED-7B56E8798D36}"/>
          </ac:spMkLst>
        </pc:spChg>
      </pc:sldChg>
    </pc:docChg>
  </pc:docChgLst>
  <pc:docChgLst>
    <pc:chgData name="Ruud Wijtvliet" userId="f269e1fc-1721-4a7b-893a-9a007a1a3fa4" providerId="ADAL" clId="{7C1F0B68-84D0-4842-9BF2-264E2C0916BA}"/>
    <pc:docChg chg="undo custSel addSld modSld sldOrd">
      <pc:chgData name="Ruud Wijtvliet" userId="f269e1fc-1721-4a7b-893a-9a007a1a3fa4" providerId="ADAL" clId="{7C1F0B68-84D0-4842-9BF2-264E2C0916BA}" dt="2022-01-13T12:32:12.889" v="1972" actId="403"/>
      <pc:docMkLst>
        <pc:docMk/>
      </pc:docMkLst>
      <pc:sldChg chg="modSp mod">
        <pc:chgData name="Ruud Wijtvliet" userId="f269e1fc-1721-4a7b-893a-9a007a1a3fa4" providerId="ADAL" clId="{7C1F0B68-84D0-4842-9BF2-264E2C0916BA}" dt="2022-01-13T12:24:32.897" v="1673" actId="1076"/>
        <pc:sldMkLst>
          <pc:docMk/>
          <pc:sldMk cId="2024248866" sldId="743"/>
        </pc:sldMkLst>
        <pc:spChg chg="mod">
          <ac:chgData name="Ruud Wijtvliet" userId="f269e1fc-1721-4a7b-893a-9a007a1a3fa4" providerId="ADAL" clId="{7C1F0B68-84D0-4842-9BF2-264E2C0916BA}" dt="2022-01-13T11:43:42.003" v="1475" actId="20577"/>
          <ac:spMkLst>
            <pc:docMk/>
            <pc:sldMk cId="2024248866" sldId="743"/>
            <ac:spMk id="3" creationId="{D13F8F9A-CAC6-4C84-865B-80CE7419DAE2}"/>
          </ac:spMkLst>
        </pc:spChg>
        <pc:spChg chg="mod">
          <ac:chgData name="Ruud Wijtvliet" userId="f269e1fc-1721-4a7b-893a-9a007a1a3fa4" providerId="ADAL" clId="{7C1F0B68-84D0-4842-9BF2-264E2C0916BA}" dt="2022-01-13T11:43:44.950" v="1477" actId="113"/>
          <ac:spMkLst>
            <pc:docMk/>
            <pc:sldMk cId="2024248866" sldId="743"/>
            <ac:spMk id="12" creationId="{F66A9551-5A4E-465A-93C6-5958741F43F4}"/>
          </ac:spMkLst>
        </pc:spChg>
        <pc:spChg chg="mod">
          <ac:chgData name="Ruud Wijtvliet" userId="f269e1fc-1721-4a7b-893a-9a007a1a3fa4" providerId="ADAL" clId="{7C1F0B68-84D0-4842-9BF2-264E2C0916BA}" dt="2022-01-13T11:38:43.958" v="1151" actId="6549"/>
          <ac:spMkLst>
            <pc:docMk/>
            <pc:sldMk cId="2024248866" sldId="743"/>
            <ac:spMk id="20" creationId="{852BA679-15C5-4D62-AE13-FA792CC308D3}"/>
          </ac:spMkLst>
        </pc:spChg>
        <pc:graphicFrameChg chg="mod">
          <ac:chgData name="Ruud Wijtvliet" userId="f269e1fc-1721-4a7b-893a-9a007a1a3fa4" providerId="ADAL" clId="{7C1F0B68-84D0-4842-9BF2-264E2C0916BA}" dt="2022-01-13T12:24:32.897" v="1673" actId="1076"/>
          <ac:graphicFrameMkLst>
            <pc:docMk/>
            <pc:sldMk cId="2024248866" sldId="743"/>
            <ac:graphicFrameMk id="11" creationId="{800DB940-D785-4F58-8133-8817D101DBFB}"/>
          </ac:graphicFrameMkLst>
        </pc:graphicFrameChg>
      </pc:sldChg>
      <pc:sldChg chg="addSp modSp mod ord">
        <pc:chgData name="Ruud Wijtvliet" userId="f269e1fc-1721-4a7b-893a-9a007a1a3fa4" providerId="ADAL" clId="{7C1F0B68-84D0-4842-9BF2-264E2C0916BA}" dt="2022-01-13T12:32:12.889" v="1972" actId="403"/>
        <pc:sldMkLst>
          <pc:docMk/>
          <pc:sldMk cId="1625540180" sldId="745"/>
        </pc:sldMkLst>
        <pc:spChg chg="add mod">
          <ac:chgData name="Ruud Wijtvliet" userId="f269e1fc-1721-4a7b-893a-9a007a1a3fa4" providerId="ADAL" clId="{7C1F0B68-84D0-4842-9BF2-264E2C0916BA}" dt="2022-01-13T12:31:47.317" v="1923" actId="404"/>
          <ac:spMkLst>
            <pc:docMk/>
            <pc:sldMk cId="1625540180" sldId="745"/>
            <ac:spMk id="2" creationId="{DEB9133F-FA2C-4962-B7C4-583D6BBB0E1C}"/>
          </ac:spMkLst>
        </pc:spChg>
        <pc:spChg chg="mod">
          <ac:chgData name="Ruud Wijtvliet" userId="f269e1fc-1721-4a7b-893a-9a007a1a3fa4" providerId="ADAL" clId="{7C1F0B68-84D0-4842-9BF2-264E2C0916BA}" dt="2022-01-13T12:20:12.772" v="1643" actId="6549"/>
          <ac:spMkLst>
            <pc:docMk/>
            <pc:sldMk cId="1625540180" sldId="745"/>
            <ac:spMk id="3" creationId="{D13F8F9A-CAC6-4C84-865B-80CE7419DAE2}"/>
          </ac:spMkLst>
        </pc:spChg>
        <pc:spChg chg="add mod">
          <ac:chgData name="Ruud Wijtvliet" userId="f269e1fc-1721-4a7b-893a-9a007a1a3fa4" providerId="ADAL" clId="{7C1F0B68-84D0-4842-9BF2-264E2C0916BA}" dt="2022-01-13T12:31:43.376" v="1921" actId="404"/>
          <ac:spMkLst>
            <pc:docMk/>
            <pc:sldMk cId="1625540180" sldId="745"/>
            <ac:spMk id="8" creationId="{3641B4D8-ECC9-4029-8F08-2A56FC2F3F96}"/>
          </ac:spMkLst>
        </pc:spChg>
        <pc:spChg chg="add mod">
          <ac:chgData name="Ruud Wijtvliet" userId="f269e1fc-1721-4a7b-893a-9a007a1a3fa4" providerId="ADAL" clId="{7C1F0B68-84D0-4842-9BF2-264E2C0916BA}" dt="2022-01-13T12:32:12.889" v="1972" actId="403"/>
          <ac:spMkLst>
            <pc:docMk/>
            <pc:sldMk cId="1625540180" sldId="745"/>
            <ac:spMk id="9" creationId="{4199DC84-88AF-4A2D-8D23-7C8010BCD755}"/>
          </ac:spMkLst>
        </pc:spChg>
        <pc:spChg chg="mod">
          <ac:chgData name="Ruud Wijtvliet" userId="f269e1fc-1721-4a7b-893a-9a007a1a3fa4" providerId="ADAL" clId="{7C1F0B68-84D0-4842-9BF2-264E2C0916BA}" dt="2022-01-13T12:31:34.072" v="1919" actId="20577"/>
          <ac:spMkLst>
            <pc:docMk/>
            <pc:sldMk cId="1625540180" sldId="745"/>
            <ac:spMk id="20" creationId="{852BA679-15C5-4D62-AE13-FA792CC308D3}"/>
          </ac:spMkLst>
        </pc:spChg>
        <pc:picChg chg="add mod">
          <ac:chgData name="Ruud Wijtvliet" userId="f269e1fc-1721-4a7b-893a-9a007a1a3fa4" providerId="ADAL" clId="{7C1F0B68-84D0-4842-9BF2-264E2C0916BA}" dt="2022-01-13T12:28:37.985" v="1686" actId="1076"/>
          <ac:picMkLst>
            <pc:docMk/>
            <pc:sldMk cId="1625540180" sldId="745"/>
            <ac:picMk id="2050" creationId="{EDF53B64-735E-40BC-9C67-36F37949E122}"/>
          </ac:picMkLst>
        </pc:picChg>
      </pc:sldChg>
      <pc:sldChg chg="addSp delSp modSp mod modNotesTx">
        <pc:chgData name="Ruud Wijtvliet" userId="f269e1fc-1721-4a7b-893a-9a007a1a3fa4" providerId="ADAL" clId="{7C1F0B68-84D0-4842-9BF2-264E2C0916BA}" dt="2022-01-13T11:30:53.086" v="333"/>
        <pc:sldMkLst>
          <pc:docMk/>
          <pc:sldMk cId="3092728457" sldId="747"/>
        </pc:sldMkLst>
        <pc:spChg chg="del mod">
          <ac:chgData name="Ruud Wijtvliet" userId="f269e1fc-1721-4a7b-893a-9a007a1a3fa4" providerId="ADAL" clId="{7C1F0B68-84D0-4842-9BF2-264E2C0916BA}" dt="2022-01-13T10:00:09.311" v="47"/>
          <ac:spMkLst>
            <pc:docMk/>
            <pc:sldMk cId="3092728457" sldId="747"/>
            <ac:spMk id="13" creationId="{CF62BC13-FD9C-41ED-9EED-7B56E8798D36}"/>
          </ac:spMkLst>
        </pc:spChg>
        <pc:spChg chg="del mod">
          <ac:chgData name="Ruud Wijtvliet" userId="f269e1fc-1721-4a7b-893a-9a007a1a3fa4" providerId="ADAL" clId="{7C1F0B68-84D0-4842-9BF2-264E2C0916BA}" dt="2022-01-13T11:23:39.517" v="267" actId="478"/>
          <ac:spMkLst>
            <pc:docMk/>
            <pc:sldMk cId="3092728457" sldId="747"/>
            <ac:spMk id="21" creationId="{F410386E-C4D7-401F-BFAB-A68D616E1601}"/>
          </ac:spMkLst>
        </pc:spChg>
        <pc:graphicFrameChg chg="mod">
          <ac:chgData name="Ruud Wijtvliet" userId="f269e1fc-1721-4a7b-893a-9a007a1a3fa4" providerId="ADAL" clId="{7C1F0B68-84D0-4842-9BF2-264E2C0916BA}" dt="2022-01-13T11:29:51.418" v="323" actId="1076"/>
          <ac:graphicFrameMkLst>
            <pc:docMk/>
            <pc:sldMk cId="3092728457" sldId="747"/>
            <ac:graphicFrameMk id="7" creationId="{5E4107A6-ED17-41D8-9137-052DCFFB2193}"/>
          </ac:graphicFrameMkLst>
        </pc:graphicFrameChg>
        <pc:graphicFrameChg chg="del mod">
          <ac:chgData name="Ruud Wijtvliet" userId="f269e1fc-1721-4a7b-893a-9a007a1a3fa4" providerId="ADAL" clId="{7C1F0B68-84D0-4842-9BF2-264E2C0916BA}" dt="2022-01-13T11:21:48.691" v="219" actId="478"/>
          <ac:graphicFrameMkLst>
            <pc:docMk/>
            <pc:sldMk cId="3092728457" sldId="747"/>
            <ac:graphicFrameMk id="11" creationId="{949F4691-3706-46F6-ADEF-A7CC61E4D6A1}"/>
          </ac:graphicFrameMkLst>
        </pc:graphicFrameChg>
        <pc:graphicFrameChg chg="add mod">
          <ac:chgData name="Ruud Wijtvliet" userId="f269e1fc-1721-4a7b-893a-9a007a1a3fa4" providerId="ADAL" clId="{7C1F0B68-84D0-4842-9BF2-264E2C0916BA}" dt="2022-01-13T11:22:01.829" v="228"/>
          <ac:graphicFrameMkLst>
            <pc:docMk/>
            <pc:sldMk cId="3092728457" sldId="747"/>
            <ac:graphicFrameMk id="12" creationId="{1DFB1584-4171-4FAB-9756-8343B156A53F}"/>
          </ac:graphicFrameMkLst>
        </pc:graphicFrameChg>
        <pc:graphicFrameChg chg="add del mod">
          <ac:chgData name="Ruud Wijtvliet" userId="f269e1fc-1721-4a7b-893a-9a007a1a3fa4" providerId="ADAL" clId="{7C1F0B68-84D0-4842-9BF2-264E2C0916BA}" dt="2022-01-13T11:27:37.465" v="278" actId="478"/>
          <ac:graphicFrameMkLst>
            <pc:docMk/>
            <pc:sldMk cId="3092728457" sldId="747"/>
            <ac:graphicFrameMk id="14" creationId="{1DFB1584-4171-4FAB-9756-8343B156A53F}"/>
          </ac:graphicFrameMkLst>
        </pc:graphicFrameChg>
        <pc:graphicFrameChg chg="add mod">
          <ac:chgData name="Ruud Wijtvliet" userId="f269e1fc-1721-4a7b-893a-9a007a1a3fa4" providerId="ADAL" clId="{7C1F0B68-84D0-4842-9BF2-264E2C0916BA}" dt="2022-01-13T11:22:47.825" v="246"/>
          <ac:graphicFrameMkLst>
            <pc:docMk/>
            <pc:sldMk cId="3092728457" sldId="747"/>
            <ac:graphicFrameMk id="15" creationId="{949F4691-3706-46F6-ADEF-A7CC61E4D6A1}"/>
          </ac:graphicFrameMkLst>
        </pc:graphicFrameChg>
        <pc:graphicFrameChg chg="add del mod">
          <ac:chgData name="Ruud Wijtvliet" userId="f269e1fc-1721-4a7b-893a-9a007a1a3fa4" providerId="ADAL" clId="{7C1F0B68-84D0-4842-9BF2-264E2C0916BA}" dt="2022-01-13T11:27:38.220" v="279" actId="478"/>
          <ac:graphicFrameMkLst>
            <pc:docMk/>
            <pc:sldMk cId="3092728457" sldId="747"/>
            <ac:graphicFrameMk id="16" creationId="{949F4691-3706-46F6-ADEF-A7CC61E4D6A1}"/>
          </ac:graphicFrameMkLst>
        </pc:graphicFrameChg>
        <pc:graphicFrameChg chg="add mod">
          <ac:chgData name="Ruud Wijtvliet" userId="f269e1fc-1721-4a7b-893a-9a007a1a3fa4" providerId="ADAL" clId="{7C1F0B68-84D0-4842-9BF2-264E2C0916BA}" dt="2022-01-13T11:25:23.344" v="271"/>
          <ac:graphicFrameMkLst>
            <pc:docMk/>
            <pc:sldMk cId="3092728457" sldId="747"/>
            <ac:graphicFrameMk id="17" creationId="{2C1F54E6-29F8-4C70-B4AA-AAC49C1A042F}"/>
          </ac:graphicFrameMkLst>
        </pc:graphicFrameChg>
        <pc:graphicFrameChg chg="mod">
          <ac:chgData name="Ruud Wijtvliet" userId="f269e1fc-1721-4a7b-893a-9a007a1a3fa4" providerId="ADAL" clId="{7C1F0B68-84D0-4842-9BF2-264E2C0916BA}" dt="2022-01-13T11:29:45.286" v="322" actId="14100"/>
          <ac:graphicFrameMkLst>
            <pc:docMk/>
            <pc:sldMk cId="3092728457" sldId="747"/>
            <ac:graphicFrameMk id="18" creationId="{5D11B4B5-7439-4F82-BE3D-5FFB7DA06062}"/>
          </ac:graphicFrameMkLst>
        </pc:graphicFrameChg>
        <pc:graphicFrameChg chg="add del mod">
          <ac:chgData name="Ruud Wijtvliet" userId="f269e1fc-1721-4a7b-893a-9a007a1a3fa4" providerId="ADAL" clId="{7C1F0B68-84D0-4842-9BF2-264E2C0916BA}" dt="2022-01-13T11:27:36.664" v="277" actId="478"/>
          <ac:graphicFrameMkLst>
            <pc:docMk/>
            <pc:sldMk cId="3092728457" sldId="747"/>
            <ac:graphicFrameMk id="19" creationId="{2C1F54E6-29F8-4C70-B4AA-AAC49C1A042F}"/>
          </ac:graphicFrameMkLst>
        </pc:graphicFrameChg>
        <pc:graphicFrameChg chg="del mod">
          <ac:chgData name="Ruud Wijtvliet" userId="f269e1fc-1721-4a7b-893a-9a007a1a3fa4" providerId="ADAL" clId="{7C1F0B68-84D0-4842-9BF2-264E2C0916BA}" dt="2022-01-13T11:23:46.879" v="268" actId="478"/>
          <ac:graphicFrameMkLst>
            <pc:docMk/>
            <pc:sldMk cId="3092728457" sldId="747"/>
            <ac:graphicFrameMk id="20" creationId="{6BADAC90-B074-47F0-AC87-7DF4860A340C}"/>
          </ac:graphicFrameMkLst>
        </pc:graphicFrameChg>
        <pc:graphicFrameChg chg="add mod">
          <ac:chgData name="Ruud Wijtvliet" userId="f269e1fc-1721-4a7b-893a-9a007a1a3fa4" providerId="ADAL" clId="{7C1F0B68-84D0-4842-9BF2-264E2C0916BA}" dt="2022-01-13T11:27:44.163" v="282"/>
          <ac:graphicFrameMkLst>
            <pc:docMk/>
            <pc:sldMk cId="3092728457" sldId="747"/>
            <ac:graphicFrameMk id="22" creationId="{2C1F54E6-29F8-4C70-B4AA-AAC49C1A042F}"/>
          </ac:graphicFrameMkLst>
        </pc:graphicFrameChg>
        <pc:graphicFrameChg chg="add mod">
          <ac:chgData name="Ruud Wijtvliet" userId="f269e1fc-1721-4a7b-893a-9a007a1a3fa4" providerId="ADAL" clId="{7C1F0B68-84D0-4842-9BF2-264E2C0916BA}" dt="2022-01-13T11:30:50.080" v="332"/>
          <ac:graphicFrameMkLst>
            <pc:docMk/>
            <pc:sldMk cId="3092728457" sldId="747"/>
            <ac:graphicFrameMk id="23" creationId="{2C1F54E6-29F8-4C70-B4AA-AAC49C1A042F}"/>
          </ac:graphicFrameMkLst>
        </pc:graphicFrameChg>
        <pc:graphicFrameChg chg="add mod">
          <ac:chgData name="Ruud Wijtvliet" userId="f269e1fc-1721-4a7b-893a-9a007a1a3fa4" providerId="ADAL" clId="{7C1F0B68-84D0-4842-9BF2-264E2C0916BA}" dt="2022-01-13T11:27:54.762" v="288"/>
          <ac:graphicFrameMkLst>
            <pc:docMk/>
            <pc:sldMk cId="3092728457" sldId="747"/>
            <ac:graphicFrameMk id="24" creationId="{6BADAC90-B074-47F0-AC87-7DF4860A340C}"/>
          </ac:graphicFrameMkLst>
        </pc:graphicFrameChg>
        <pc:graphicFrameChg chg="add mod">
          <ac:chgData name="Ruud Wijtvliet" userId="f269e1fc-1721-4a7b-893a-9a007a1a3fa4" providerId="ADAL" clId="{7C1F0B68-84D0-4842-9BF2-264E2C0916BA}" dt="2022-01-13T11:30:16.966" v="327" actId="1076"/>
          <ac:graphicFrameMkLst>
            <pc:docMk/>
            <pc:sldMk cId="3092728457" sldId="747"/>
            <ac:graphicFrameMk id="25" creationId="{6BADAC90-B074-47F0-AC87-7DF4860A340C}"/>
          </ac:graphicFrameMkLst>
        </pc:graphicFrameChg>
        <pc:graphicFrameChg chg="add mod">
          <ac:chgData name="Ruud Wijtvliet" userId="f269e1fc-1721-4a7b-893a-9a007a1a3fa4" providerId="ADAL" clId="{7C1F0B68-84D0-4842-9BF2-264E2C0916BA}" dt="2022-01-13T11:28:48.406" v="296"/>
          <ac:graphicFrameMkLst>
            <pc:docMk/>
            <pc:sldMk cId="3092728457" sldId="747"/>
            <ac:graphicFrameMk id="26" creationId="{949F4691-3706-46F6-ADEF-A7CC61E4D6A1}"/>
          </ac:graphicFrameMkLst>
        </pc:graphicFrameChg>
        <pc:graphicFrameChg chg="add del mod">
          <ac:chgData name="Ruud Wijtvliet" userId="f269e1fc-1721-4a7b-893a-9a007a1a3fa4" providerId="ADAL" clId="{7C1F0B68-84D0-4842-9BF2-264E2C0916BA}" dt="2022-01-13T11:28:55.482" v="300" actId="478"/>
          <ac:graphicFrameMkLst>
            <pc:docMk/>
            <pc:sldMk cId="3092728457" sldId="747"/>
            <ac:graphicFrameMk id="27" creationId="{949F4691-3706-46F6-ADEF-A7CC61E4D6A1}"/>
          </ac:graphicFrameMkLst>
        </pc:graphicFrameChg>
        <pc:graphicFrameChg chg="add mod">
          <ac:chgData name="Ruud Wijtvliet" userId="f269e1fc-1721-4a7b-893a-9a007a1a3fa4" providerId="ADAL" clId="{7C1F0B68-84D0-4842-9BF2-264E2C0916BA}" dt="2022-01-13T11:29:08.792" v="303"/>
          <ac:graphicFrameMkLst>
            <pc:docMk/>
            <pc:sldMk cId="3092728457" sldId="747"/>
            <ac:graphicFrameMk id="28" creationId="{1DFB1584-4171-4FAB-9756-8343B156A53F}"/>
          </ac:graphicFrameMkLst>
        </pc:graphicFrameChg>
        <pc:graphicFrameChg chg="add mod">
          <ac:chgData name="Ruud Wijtvliet" userId="f269e1fc-1721-4a7b-893a-9a007a1a3fa4" providerId="ADAL" clId="{7C1F0B68-84D0-4842-9BF2-264E2C0916BA}" dt="2022-01-13T11:30:53.086" v="333"/>
          <ac:graphicFrameMkLst>
            <pc:docMk/>
            <pc:sldMk cId="3092728457" sldId="747"/>
            <ac:graphicFrameMk id="29" creationId="{1DFB1584-4171-4FAB-9756-8343B156A53F}"/>
          </ac:graphicFrameMkLst>
        </pc:graphicFrameChg>
        <pc:graphicFrameChg chg="add mod">
          <ac:chgData name="Ruud Wijtvliet" userId="f269e1fc-1721-4a7b-893a-9a007a1a3fa4" providerId="ADAL" clId="{7C1F0B68-84D0-4842-9BF2-264E2C0916BA}" dt="2022-01-13T11:29:15.188" v="312"/>
          <ac:graphicFrameMkLst>
            <pc:docMk/>
            <pc:sldMk cId="3092728457" sldId="747"/>
            <ac:graphicFrameMk id="30" creationId="{949F4691-3706-46F6-ADEF-A7CC61E4D6A1}"/>
          </ac:graphicFrameMkLst>
        </pc:graphicFrameChg>
        <pc:graphicFrameChg chg="add mod">
          <ac:chgData name="Ruud Wijtvliet" userId="f269e1fc-1721-4a7b-893a-9a007a1a3fa4" providerId="ADAL" clId="{7C1F0B68-84D0-4842-9BF2-264E2C0916BA}" dt="2022-01-13T11:30:41.041" v="331" actId="1076"/>
          <ac:graphicFrameMkLst>
            <pc:docMk/>
            <pc:sldMk cId="3092728457" sldId="747"/>
            <ac:graphicFrameMk id="31" creationId="{949F4691-3706-46F6-ADEF-A7CC61E4D6A1}"/>
          </ac:graphicFrameMkLst>
        </pc:graphicFrameChg>
      </pc:sldChg>
      <pc:sldChg chg="addSp delSp modSp mod">
        <pc:chgData name="Ruud Wijtvliet" userId="f269e1fc-1721-4a7b-893a-9a007a1a3fa4" providerId="ADAL" clId="{7C1F0B68-84D0-4842-9BF2-264E2C0916BA}" dt="2022-01-13T12:27:13.235" v="1682" actId="122"/>
        <pc:sldMkLst>
          <pc:docMk/>
          <pc:sldMk cId="536519166" sldId="748"/>
        </pc:sldMkLst>
        <pc:spChg chg="mod">
          <ac:chgData name="Ruud Wijtvliet" userId="f269e1fc-1721-4a7b-893a-9a007a1a3fa4" providerId="ADAL" clId="{7C1F0B68-84D0-4842-9BF2-264E2C0916BA}" dt="2022-01-13T12:25:06.081" v="1680" actId="20577"/>
          <ac:spMkLst>
            <pc:docMk/>
            <pc:sldMk cId="536519166" sldId="748"/>
            <ac:spMk id="5" creationId="{E3791829-477D-4536-B778-FB8EE3447030}"/>
          </ac:spMkLst>
        </pc:spChg>
        <pc:spChg chg="del">
          <ac:chgData name="Ruud Wijtvliet" userId="f269e1fc-1721-4a7b-893a-9a007a1a3fa4" providerId="ADAL" clId="{7C1F0B68-84D0-4842-9BF2-264E2C0916BA}" dt="2022-01-13T12:18:34.288" v="1562" actId="478"/>
          <ac:spMkLst>
            <pc:docMk/>
            <pc:sldMk cId="536519166" sldId="748"/>
            <ac:spMk id="13" creationId="{004CFAC3-D300-4B82-9FB6-448A92F551F2}"/>
          </ac:spMkLst>
        </pc:spChg>
        <pc:spChg chg="mod">
          <ac:chgData name="Ruud Wijtvliet" userId="f269e1fc-1721-4a7b-893a-9a007a1a3fa4" providerId="ADAL" clId="{7C1F0B68-84D0-4842-9BF2-264E2C0916BA}" dt="2022-01-13T12:20:03.937" v="1633" actId="1076"/>
          <ac:spMkLst>
            <pc:docMk/>
            <pc:sldMk cId="536519166" sldId="748"/>
            <ac:spMk id="17" creationId="{2DFA8653-9D6C-455F-9346-BD6D829FD74F}"/>
          </ac:spMkLst>
        </pc:spChg>
        <pc:graphicFrameChg chg="add del mod">
          <ac:chgData name="Ruud Wijtvliet" userId="f269e1fc-1721-4a7b-893a-9a007a1a3fa4" providerId="ADAL" clId="{7C1F0B68-84D0-4842-9BF2-264E2C0916BA}" dt="2022-01-13T12:17:47.026" v="1549"/>
          <ac:graphicFrameMkLst>
            <pc:docMk/>
            <pc:sldMk cId="536519166" sldId="748"/>
            <ac:graphicFrameMk id="6" creationId="{E57AD509-01F4-4D86-BAD6-EB3BA7EFB050}"/>
          </ac:graphicFrameMkLst>
        </pc:graphicFrameChg>
        <pc:graphicFrameChg chg="add mod modGraphic">
          <ac:chgData name="Ruud Wijtvliet" userId="f269e1fc-1721-4a7b-893a-9a007a1a3fa4" providerId="ADAL" clId="{7C1F0B68-84D0-4842-9BF2-264E2C0916BA}" dt="2022-01-13T12:27:13.235" v="1682" actId="122"/>
          <ac:graphicFrameMkLst>
            <pc:docMk/>
            <pc:sldMk cId="536519166" sldId="748"/>
            <ac:graphicFrameMk id="7" creationId="{5D29086D-7670-45E5-BC41-42CE321564EE}"/>
          </ac:graphicFrameMkLst>
        </pc:graphicFrameChg>
        <pc:graphicFrameChg chg="del mod">
          <ac:chgData name="Ruud Wijtvliet" userId="f269e1fc-1721-4a7b-893a-9a007a1a3fa4" providerId="ADAL" clId="{7C1F0B68-84D0-4842-9BF2-264E2C0916BA}" dt="2022-01-13T12:18:09.810" v="1558" actId="478"/>
          <ac:graphicFrameMkLst>
            <pc:docMk/>
            <pc:sldMk cId="536519166" sldId="748"/>
            <ac:graphicFrameMk id="10" creationId="{C8E752E0-9233-41DA-B271-A768C5C76AFD}"/>
          </ac:graphicFrameMkLst>
        </pc:graphicFrameChg>
        <pc:cxnChg chg="del mod">
          <ac:chgData name="Ruud Wijtvliet" userId="f269e1fc-1721-4a7b-893a-9a007a1a3fa4" providerId="ADAL" clId="{7C1F0B68-84D0-4842-9BF2-264E2C0916BA}" dt="2022-01-13T12:18:29.526" v="1561" actId="478"/>
          <ac:cxnSpMkLst>
            <pc:docMk/>
            <pc:sldMk cId="536519166" sldId="748"/>
            <ac:cxnSpMk id="15" creationId="{DFCD2EC4-04D5-4E44-8DA5-120C36F2C8C4}"/>
          </ac:cxnSpMkLst>
        </pc:cxnChg>
        <pc:cxnChg chg="del mod">
          <ac:chgData name="Ruud Wijtvliet" userId="f269e1fc-1721-4a7b-893a-9a007a1a3fa4" providerId="ADAL" clId="{7C1F0B68-84D0-4842-9BF2-264E2C0916BA}" dt="2022-01-13T12:19:45.158" v="1627" actId="478"/>
          <ac:cxnSpMkLst>
            <pc:docMk/>
            <pc:sldMk cId="536519166" sldId="748"/>
            <ac:cxnSpMk id="18" creationId="{7DB973ED-4D2D-462E-9576-7D97C78EB11E}"/>
          </ac:cxnSpMkLst>
        </pc:cxnChg>
      </pc:sldChg>
      <pc:sldChg chg="addSp delSp modSp new mod ord">
        <pc:chgData name="Ruud Wijtvliet" userId="f269e1fc-1721-4a7b-893a-9a007a1a3fa4" providerId="ADAL" clId="{7C1F0B68-84D0-4842-9BF2-264E2C0916BA}" dt="2022-01-13T11:54:51.968" v="1545" actId="6549"/>
        <pc:sldMkLst>
          <pc:docMk/>
          <pc:sldMk cId="2872289880" sldId="749"/>
        </pc:sldMkLst>
        <pc:spChg chg="del mod">
          <ac:chgData name="Ruud Wijtvliet" userId="f269e1fc-1721-4a7b-893a-9a007a1a3fa4" providerId="ADAL" clId="{7C1F0B68-84D0-4842-9BF2-264E2C0916BA}" dt="2022-01-13T10:47:38.206" v="151" actId="478"/>
          <ac:spMkLst>
            <pc:docMk/>
            <pc:sldMk cId="2872289880" sldId="749"/>
            <ac:spMk id="2" creationId="{221EFFBC-E51F-42D4-8D9E-9ECDBF1D1F90}"/>
          </ac:spMkLst>
        </pc:spChg>
        <pc:spChg chg="mod">
          <ac:chgData name="Ruud Wijtvliet" userId="f269e1fc-1721-4a7b-893a-9a007a1a3fa4" providerId="ADAL" clId="{7C1F0B68-84D0-4842-9BF2-264E2C0916BA}" dt="2022-01-13T11:40:05.620" v="1237" actId="6549"/>
          <ac:spMkLst>
            <pc:docMk/>
            <pc:sldMk cId="2872289880" sldId="749"/>
            <ac:spMk id="3" creationId="{1DBD9831-4CEB-4F0F-9B50-05925C5FBF28}"/>
          </ac:spMkLst>
        </pc:spChg>
        <pc:spChg chg="mod">
          <ac:chgData name="Ruud Wijtvliet" userId="f269e1fc-1721-4a7b-893a-9a007a1a3fa4" providerId="ADAL" clId="{7C1F0B68-84D0-4842-9BF2-264E2C0916BA}" dt="2022-01-13T11:39:52.865" v="1235" actId="1036"/>
          <ac:spMkLst>
            <pc:docMk/>
            <pc:sldMk cId="2872289880" sldId="749"/>
            <ac:spMk id="5" creationId="{CD03E2E4-D103-41AD-8947-942DF7A4986C}"/>
          </ac:spMkLst>
        </pc:spChg>
        <pc:spChg chg="add del mod">
          <ac:chgData name="Ruud Wijtvliet" userId="f269e1fc-1721-4a7b-893a-9a007a1a3fa4" providerId="ADAL" clId="{7C1F0B68-84D0-4842-9BF2-264E2C0916BA}" dt="2022-01-13T10:47:40.914" v="152" actId="478"/>
          <ac:spMkLst>
            <pc:docMk/>
            <pc:sldMk cId="2872289880" sldId="749"/>
            <ac:spMk id="13" creationId="{AAA9A79B-1FC1-44EB-8C89-EA1DB49FC713}"/>
          </ac:spMkLst>
        </pc:spChg>
        <pc:spChg chg="add del mod">
          <ac:chgData name="Ruud Wijtvliet" userId="f269e1fc-1721-4a7b-893a-9a007a1a3fa4" providerId="ADAL" clId="{7C1F0B68-84D0-4842-9BF2-264E2C0916BA}" dt="2022-01-13T10:49:41.136" v="201" actId="478"/>
          <ac:spMkLst>
            <pc:docMk/>
            <pc:sldMk cId="2872289880" sldId="749"/>
            <ac:spMk id="14" creationId="{F553A060-6047-4221-8068-17CA830AEC9C}"/>
          </ac:spMkLst>
        </pc:spChg>
        <pc:spChg chg="add mod">
          <ac:chgData name="Ruud Wijtvliet" userId="f269e1fc-1721-4a7b-893a-9a007a1a3fa4" providerId="ADAL" clId="{7C1F0B68-84D0-4842-9BF2-264E2C0916BA}" dt="2022-01-13T10:49:44.158" v="202" actId="1076"/>
          <ac:spMkLst>
            <pc:docMk/>
            <pc:sldMk cId="2872289880" sldId="749"/>
            <ac:spMk id="15" creationId="{692B1F7E-F3C5-43B5-A0B6-BE2677F3206B}"/>
          </ac:spMkLst>
        </pc:spChg>
        <pc:spChg chg="add mod">
          <ac:chgData name="Ruud Wijtvliet" userId="f269e1fc-1721-4a7b-893a-9a007a1a3fa4" providerId="ADAL" clId="{7C1F0B68-84D0-4842-9BF2-264E2C0916BA}" dt="2022-01-13T10:50:00.836" v="218" actId="1076"/>
          <ac:spMkLst>
            <pc:docMk/>
            <pc:sldMk cId="2872289880" sldId="749"/>
            <ac:spMk id="16" creationId="{BFF1B472-6791-49DC-B9D3-134D7F432850}"/>
          </ac:spMkLst>
        </pc:spChg>
        <pc:spChg chg="add mod">
          <ac:chgData name="Ruud Wijtvliet" userId="f269e1fc-1721-4a7b-893a-9a007a1a3fa4" providerId="ADAL" clId="{7C1F0B68-84D0-4842-9BF2-264E2C0916BA}" dt="2022-01-13T11:54:51.968" v="1545" actId="6549"/>
          <ac:spMkLst>
            <pc:docMk/>
            <pc:sldMk cId="2872289880" sldId="749"/>
            <ac:spMk id="17" creationId="{4ED7BD01-6187-432C-B7C0-E443BB83B294}"/>
          </ac:spMkLst>
        </pc:spChg>
        <pc:picChg chg="add del mod">
          <ac:chgData name="Ruud Wijtvliet" userId="f269e1fc-1721-4a7b-893a-9a007a1a3fa4" providerId="ADAL" clId="{7C1F0B68-84D0-4842-9BF2-264E2C0916BA}" dt="2022-01-13T10:46:04.606" v="102" actId="478"/>
          <ac:picMkLst>
            <pc:docMk/>
            <pc:sldMk cId="2872289880" sldId="749"/>
            <ac:picMk id="7" creationId="{7DEFD4C2-F766-443A-85D1-9E623EDC4258}"/>
          </ac:picMkLst>
        </pc:picChg>
        <pc:picChg chg="add del mod">
          <ac:chgData name="Ruud Wijtvliet" userId="f269e1fc-1721-4a7b-893a-9a007a1a3fa4" providerId="ADAL" clId="{7C1F0B68-84D0-4842-9BF2-264E2C0916BA}" dt="2022-01-13T10:47:21.679" v="145" actId="478"/>
          <ac:picMkLst>
            <pc:docMk/>
            <pc:sldMk cId="2872289880" sldId="749"/>
            <ac:picMk id="9" creationId="{DC0CCD13-7924-47FC-AB31-D13673DCE5C3}"/>
          </ac:picMkLst>
        </pc:picChg>
        <pc:picChg chg="add mod">
          <ac:chgData name="Ruud Wijtvliet" userId="f269e1fc-1721-4a7b-893a-9a007a1a3fa4" providerId="ADAL" clId="{7C1F0B68-84D0-4842-9BF2-264E2C0916BA}" dt="2022-01-13T10:48:23.586" v="167" actId="1076"/>
          <ac:picMkLst>
            <pc:docMk/>
            <pc:sldMk cId="2872289880" sldId="749"/>
            <ac:picMk id="11" creationId="{C80D3169-CFD5-4787-AA5F-4B9B0933B31E}"/>
          </ac:picMkLst>
        </pc:picChg>
      </pc:sldChg>
      <pc:sldChg chg="modSp new mod">
        <pc:chgData name="Ruud Wijtvliet" userId="f269e1fc-1721-4a7b-893a-9a007a1a3fa4" providerId="ADAL" clId="{7C1F0B68-84D0-4842-9BF2-264E2C0916BA}" dt="2022-01-13T12:22:52.215" v="1667" actId="20577"/>
        <pc:sldMkLst>
          <pc:docMk/>
          <pc:sldMk cId="1821458165" sldId="750"/>
        </pc:sldMkLst>
        <pc:spChg chg="mod">
          <ac:chgData name="Ruud Wijtvliet" userId="f269e1fc-1721-4a7b-893a-9a007a1a3fa4" providerId="ADAL" clId="{7C1F0B68-84D0-4842-9BF2-264E2C0916BA}" dt="2022-01-13T12:22:52.215" v="1667" actId="20577"/>
          <ac:spMkLst>
            <pc:docMk/>
            <pc:sldMk cId="1821458165" sldId="750"/>
            <ac:spMk id="2" creationId="{B260C6DB-9F8F-47D5-88F8-AF53CA776C90}"/>
          </ac:spMkLst>
        </pc:spChg>
        <pc:spChg chg="mod">
          <ac:chgData name="Ruud Wijtvliet" userId="f269e1fc-1721-4a7b-893a-9a007a1a3fa4" providerId="ADAL" clId="{7C1F0B68-84D0-4842-9BF2-264E2C0916BA}" dt="2022-01-13T11:31:07.251" v="335"/>
          <ac:spMkLst>
            <pc:docMk/>
            <pc:sldMk cId="1821458165" sldId="750"/>
            <ac:spMk id="3" creationId="{DEC105DC-3392-45AF-8236-332397028E2C}"/>
          </ac:spMkLst>
        </pc:spChg>
        <pc:spChg chg="mod">
          <ac:chgData name="Ruud Wijtvliet" userId="f269e1fc-1721-4a7b-893a-9a007a1a3fa4" providerId="ADAL" clId="{7C1F0B68-84D0-4842-9BF2-264E2C0916BA}" dt="2022-01-13T11:37:48.867" v="1139" actId="207"/>
          <ac:spMkLst>
            <pc:docMk/>
            <pc:sldMk cId="1821458165" sldId="750"/>
            <ac:spMk id="5" creationId="{C2AAEB69-5AB6-4B8D-8A1F-DCA6A097D53C}"/>
          </ac:spMkLst>
        </pc:spChg>
      </pc:sldChg>
    </pc:docChg>
  </pc:docChgLst>
  <pc:docChgLst>
    <pc:chgData name="Ruud Wijtvliet" userId="f269e1fc-1721-4a7b-893a-9a007a1a3fa4" providerId="ADAL" clId="{16EBF7D6-4402-4576-B992-53BFA8225EA4}"/>
    <pc:docChg chg="undo custSel addSld delSld modSld sldOrd">
      <pc:chgData name="Ruud Wijtvliet" userId="f269e1fc-1721-4a7b-893a-9a007a1a3fa4" providerId="ADAL" clId="{16EBF7D6-4402-4576-B992-53BFA8225EA4}" dt="2022-01-12T18:25:28.728" v="3851" actId="47"/>
      <pc:docMkLst>
        <pc:docMk/>
      </pc:docMkLst>
      <pc:sldChg chg="del">
        <pc:chgData name="Ruud Wijtvliet" userId="f269e1fc-1721-4a7b-893a-9a007a1a3fa4" providerId="ADAL" clId="{16EBF7D6-4402-4576-B992-53BFA8225EA4}" dt="2022-01-12T15:33:54.013" v="2819" actId="47"/>
        <pc:sldMkLst>
          <pc:docMk/>
          <pc:sldMk cId="1637505522" sldId="342"/>
        </pc:sldMkLst>
      </pc:sldChg>
      <pc:sldChg chg="modSp mod modNotesTx">
        <pc:chgData name="Ruud Wijtvliet" userId="f269e1fc-1721-4a7b-893a-9a007a1a3fa4" providerId="ADAL" clId="{16EBF7D6-4402-4576-B992-53BFA8225EA4}" dt="2022-01-12T13:53:04.957" v="224" actId="6549"/>
        <pc:sldMkLst>
          <pc:docMk/>
          <pc:sldMk cId="2796724944" sldId="742"/>
        </pc:sldMkLst>
        <pc:spChg chg="mod">
          <ac:chgData name="Ruud Wijtvliet" userId="f269e1fc-1721-4a7b-893a-9a007a1a3fa4" providerId="ADAL" clId="{16EBF7D6-4402-4576-B992-53BFA8225EA4}" dt="2022-01-12T13:52:58.763" v="223" actId="20577"/>
          <ac:spMkLst>
            <pc:docMk/>
            <pc:sldMk cId="2796724944" sldId="742"/>
            <ac:spMk id="4" creationId="{9EB2C8E0-C48E-41BA-B15A-7B21F2FFBC6F}"/>
          </ac:spMkLst>
        </pc:spChg>
      </pc:sldChg>
      <pc:sldChg chg="addSp delSp modSp mod modNotesTx">
        <pc:chgData name="Ruud Wijtvliet" userId="f269e1fc-1721-4a7b-893a-9a007a1a3fa4" providerId="ADAL" clId="{16EBF7D6-4402-4576-B992-53BFA8225EA4}" dt="2022-01-12T18:25:15.886" v="3850" actId="13926"/>
        <pc:sldMkLst>
          <pc:docMk/>
          <pc:sldMk cId="2024248866" sldId="743"/>
        </pc:sldMkLst>
        <pc:spChg chg="mod">
          <ac:chgData name="Ruud Wijtvliet" userId="f269e1fc-1721-4a7b-893a-9a007a1a3fa4" providerId="ADAL" clId="{16EBF7D6-4402-4576-B992-53BFA8225EA4}" dt="2022-01-12T13:47:58.571" v="84" actId="20577"/>
          <ac:spMkLst>
            <pc:docMk/>
            <pc:sldMk cId="2024248866" sldId="743"/>
            <ac:spMk id="3" creationId="{D13F8F9A-CAC6-4C84-865B-80CE7419DAE2}"/>
          </ac:spMkLst>
        </pc:spChg>
        <pc:spChg chg="del">
          <ac:chgData name="Ruud Wijtvliet" userId="f269e1fc-1721-4a7b-893a-9a007a1a3fa4" providerId="ADAL" clId="{16EBF7D6-4402-4576-B992-53BFA8225EA4}" dt="2022-01-12T13:47:37.243" v="54" actId="478"/>
          <ac:spMkLst>
            <pc:docMk/>
            <pc:sldMk cId="2024248866" sldId="743"/>
            <ac:spMk id="6" creationId="{48534A9D-CD2A-438E-84A4-05F8C43E9308}"/>
          </ac:spMkLst>
        </pc:spChg>
        <pc:spChg chg="add mod">
          <ac:chgData name="Ruud Wijtvliet" userId="f269e1fc-1721-4a7b-893a-9a007a1a3fa4" providerId="ADAL" clId="{16EBF7D6-4402-4576-B992-53BFA8225EA4}" dt="2022-01-12T13:47:37.243" v="54" actId="478"/>
          <ac:spMkLst>
            <pc:docMk/>
            <pc:sldMk cId="2024248866" sldId="743"/>
            <ac:spMk id="12" creationId="{F66A9551-5A4E-465A-93C6-5958741F43F4}"/>
          </ac:spMkLst>
        </pc:spChg>
        <pc:spChg chg="mod">
          <ac:chgData name="Ruud Wijtvliet" userId="f269e1fc-1721-4a7b-893a-9a007a1a3fa4" providerId="ADAL" clId="{16EBF7D6-4402-4576-B992-53BFA8225EA4}" dt="2022-01-12T18:25:15.886" v="3850" actId="13926"/>
          <ac:spMkLst>
            <pc:docMk/>
            <pc:sldMk cId="2024248866" sldId="743"/>
            <ac:spMk id="20" creationId="{852BA679-15C5-4D62-AE13-FA792CC308D3}"/>
          </ac:spMkLst>
        </pc:spChg>
        <pc:graphicFrameChg chg="del">
          <ac:chgData name="Ruud Wijtvliet" userId="f269e1fc-1721-4a7b-893a-9a007a1a3fa4" providerId="ADAL" clId="{16EBF7D6-4402-4576-B992-53BFA8225EA4}" dt="2022-01-12T13:46:38.643" v="4" actId="478"/>
          <ac:graphicFrameMkLst>
            <pc:docMk/>
            <pc:sldMk cId="2024248866" sldId="743"/>
            <ac:graphicFrameMk id="8" creationId="{9A0809EC-B698-4655-B475-80F3E6B864A5}"/>
          </ac:graphicFrameMkLst>
        </pc:graphicFrameChg>
        <pc:graphicFrameChg chg="add del mod">
          <ac:chgData name="Ruud Wijtvliet" userId="f269e1fc-1721-4a7b-893a-9a007a1a3fa4" providerId="ADAL" clId="{16EBF7D6-4402-4576-B992-53BFA8225EA4}" dt="2022-01-12T13:46:45.430" v="9" actId="478"/>
          <ac:graphicFrameMkLst>
            <pc:docMk/>
            <pc:sldMk cId="2024248866" sldId="743"/>
            <ac:graphicFrameMk id="9" creationId="{800DB940-D785-4F58-8133-8817D101DBFB}"/>
          </ac:graphicFrameMkLst>
        </pc:graphicFrameChg>
        <pc:graphicFrameChg chg="add mod">
          <ac:chgData name="Ruud Wijtvliet" userId="f269e1fc-1721-4a7b-893a-9a007a1a3fa4" providerId="ADAL" clId="{16EBF7D6-4402-4576-B992-53BFA8225EA4}" dt="2022-01-12T13:46:49.788" v="14"/>
          <ac:graphicFrameMkLst>
            <pc:docMk/>
            <pc:sldMk cId="2024248866" sldId="743"/>
            <ac:graphicFrameMk id="10" creationId="{800DB940-D785-4F58-8133-8817D101DBFB}"/>
          </ac:graphicFrameMkLst>
        </pc:graphicFrameChg>
        <pc:graphicFrameChg chg="add mod">
          <ac:chgData name="Ruud Wijtvliet" userId="f269e1fc-1721-4a7b-893a-9a007a1a3fa4" providerId="ADAL" clId="{16EBF7D6-4402-4576-B992-53BFA8225EA4}" dt="2022-01-12T13:46:55.772" v="17" actId="1076"/>
          <ac:graphicFrameMkLst>
            <pc:docMk/>
            <pc:sldMk cId="2024248866" sldId="743"/>
            <ac:graphicFrameMk id="11" creationId="{800DB940-D785-4F58-8133-8817D101DBFB}"/>
          </ac:graphicFrameMkLst>
        </pc:graphicFrameChg>
      </pc:sldChg>
      <pc:sldChg chg="modSp del mod">
        <pc:chgData name="Ruud Wijtvliet" userId="f269e1fc-1721-4a7b-893a-9a007a1a3fa4" providerId="ADAL" clId="{16EBF7D6-4402-4576-B992-53BFA8225EA4}" dt="2022-01-12T15:32:21.095" v="2626" actId="47"/>
        <pc:sldMkLst>
          <pc:docMk/>
          <pc:sldMk cId="1940290106" sldId="744"/>
        </pc:sldMkLst>
        <pc:spChg chg="mod">
          <ac:chgData name="Ruud Wijtvliet" userId="f269e1fc-1721-4a7b-893a-9a007a1a3fa4" providerId="ADAL" clId="{16EBF7D6-4402-4576-B992-53BFA8225EA4}" dt="2022-01-12T14:27:15.559" v="364" actId="20577"/>
          <ac:spMkLst>
            <pc:docMk/>
            <pc:sldMk cId="1940290106" sldId="744"/>
            <ac:spMk id="3" creationId="{D13F8F9A-CAC6-4C84-865B-80CE7419DAE2}"/>
          </ac:spMkLst>
        </pc:spChg>
      </pc:sldChg>
      <pc:sldChg chg="delSp modSp add mod">
        <pc:chgData name="Ruud Wijtvliet" userId="f269e1fc-1721-4a7b-893a-9a007a1a3fa4" providerId="ADAL" clId="{16EBF7D6-4402-4576-B992-53BFA8225EA4}" dt="2022-01-12T17:02:36.873" v="2956" actId="6549"/>
        <pc:sldMkLst>
          <pc:docMk/>
          <pc:sldMk cId="1625540180" sldId="745"/>
        </pc:sldMkLst>
        <pc:spChg chg="mod">
          <ac:chgData name="Ruud Wijtvliet" userId="f269e1fc-1721-4a7b-893a-9a007a1a3fa4" providerId="ADAL" clId="{16EBF7D6-4402-4576-B992-53BFA8225EA4}" dt="2022-01-12T17:02:36.873" v="2956" actId="6549"/>
          <ac:spMkLst>
            <pc:docMk/>
            <pc:sldMk cId="1625540180" sldId="745"/>
            <ac:spMk id="3" creationId="{D13F8F9A-CAC6-4C84-865B-80CE7419DAE2}"/>
          </ac:spMkLst>
        </pc:spChg>
        <pc:spChg chg="mod">
          <ac:chgData name="Ruud Wijtvliet" userId="f269e1fc-1721-4a7b-893a-9a007a1a3fa4" providerId="ADAL" clId="{16EBF7D6-4402-4576-B992-53BFA8225EA4}" dt="2022-01-12T15:03:01.654" v="2078" actId="20577"/>
          <ac:spMkLst>
            <pc:docMk/>
            <pc:sldMk cId="1625540180" sldId="745"/>
            <ac:spMk id="6" creationId="{48534A9D-CD2A-438E-84A4-05F8C43E9308}"/>
          </ac:spMkLst>
        </pc:spChg>
        <pc:spChg chg="mod">
          <ac:chgData name="Ruud Wijtvliet" userId="f269e1fc-1721-4a7b-893a-9a007a1a3fa4" providerId="ADAL" clId="{16EBF7D6-4402-4576-B992-53BFA8225EA4}" dt="2022-01-12T15:25:36.692" v="2140" actId="20577"/>
          <ac:spMkLst>
            <pc:docMk/>
            <pc:sldMk cId="1625540180" sldId="745"/>
            <ac:spMk id="20" creationId="{852BA679-15C5-4D62-AE13-FA792CC308D3}"/>
          </ac:spMkLst>
        </pc:spChg>
        <pc:graphicFrameChg chg="del">
          <ac:chgData name="Ruud Wijtvliet" userId="f269e1fc-1721-4a7b-893a-9a007a1a3fa4" providerId="ADAL" clId="{16EBF7D6-4402-4576-B992-53BFA8225EA4}" dt="2022-01-12T14:27:26.171" v="366" actId="478"/>
          <ac:graphicFrameMkLst>
            <pc:docMk/>
            <pc:sldMk cId="1625540180" sldId="745"/>
            <ac:graphicFrameMk id="14" creationId="{B18E264E-AC7E-41B0-B09E-E385B316BE18}"/>
          </ac:graphicFrameMkLst>
        </pc:graphicFrameChg>
        <pc:graphicFrameChg chg="del">
          <ac:chgData name="Ruud Wijtvliet" userId="f269e1fc-1721-4a7b-893a-9a007a1a3fa4" providerId="ADAL" clId="{16EBF7D6-4402-4576-B992-53BFA8225EA4}" dt="2022-01-12T14:27:27.691" v="367" actId="478"/>
          <ac:graphicFrameMkLst>
            <pc:docMk/>
            <pc:sldMk cId="1625540180" sldId="745"/>
            <ac:graphicFrameMk id="16" creationId="{B64A2DE0-8A92-41BE-8246-FBF2FEE62422}"/>
          </ac:graphicFrameMkLst>
        </pc:graphicFrameChg>
      </pc:sldChg>
      <pc:sldChg chg="addSp delSp modSp new del mod">
        <pc:chgData name="Ruud Wijtvliet" userId="f269e1fc-1721-4a7b-893a-9a007a1a3fa4" providerId="ADAL" clId="{16EBF7D6-4402-4576-B992-53BFA8225EA4}" dt="2022-01-12T18:25:28.728" v="3851" actId="47"/>
        <pc:sldMkLst>
          <pc:docMk/>
          <pc:sldMk cId="1557288435" sldId="746"/>
        </pc:sldMkLst>
        <pc:spChg chg="del">
          <ac:chgData name="Ruud Wijtvliet" userId="f269e1fc-1721-4a7b-893a-9a007a1a3fa4" providerId="ADAL" clId="{16EBF7D6-4402-4576-B992-53BFA8225EA4}" dt="2022-01-12T15:16:19.876" v="2112" actId="478"/>
          <ac:spMkLst>
            <pc:docMk/>
            <pc:sldMk cId="1557288435" sldId="746"/>
            <ac:spMk id="2" creationId="{283194BD-E085-46C6-A325-83694DBE75B8}"/>
          </ac:spMkLst>
        </pc:spChg>
        <pc:spChg chg="mod">
          <ac:chgData name="Ruud Wijtvliet" userId="f269e1fc-1721-4a7b-893a-9a007a1a3fa4" providerId="ADAL" clId="{16EBF7D6-4402-4576-B992-53BFA8225EA4}" dt="2022-01-12T15:16:01.599" v="2101" actId="20577"/>
          <ac:spMkLst>
            <pc:docMk/>
            <pc:sldMk cId="1557288435" sldId="746"/>
            <ac:spMk id="3" creationId="{30A742D3-8E4F-4118-91EF-0E390844AB04}"/>
          </ac:spMkLst>
        </pc:spChg>
        <pc:spChg chg="mod">
          <ac:chgData name="Ruud Wijtvliet" userId="f269e1fc-1721-4a7b-893a-9a007a1a3fa4" providerId="ADAL" clId="{16EBF7D6-4402-4576-B992-53BFA8225EA4}" dt="2022-01-12T15:33:46.012" v="2818" actId="20577"/>
          <ac:spMkLst>
            <pc:docMk/>
            <pc:sldMk cId="1557288435" sldId="746"/>
            <ac:spMk id="7" creationId="{31D447CA-C587-40F0-BDAC-2181C23C574E}"/>
          </ac:spMkLst>
        </pc:spChg>
        <pc:graphicFrameChg chg="add mod">
          <ac:chgData name="Ruud Wijtvliet" userId="f269e1fc-1721-4a7b-893a-9a007a1a3fa4" providerId="ADAL" clId="{16EBF7D6-4402-4576-B992-53BFA8225EA4}" dt="2022-01-12T15:16:06.572" v="2104"/>
          <ac:graphicFrameMkLst>
            <pc:docMk/>
            <pc:sldMk cId="1557288435" sldId="746"/>
            <ac:graphicFrameMk id="8" creationId="{B144BD5A-D747-4421-BC0B-B27E4EE143BC}"/>
          </ac:graphicFrameMkLst>
        </pc:graphicFrameChg>
        <pc:graphicFrameChg chg="add mod">
          <ac:chgData name="Ruud Wijtvliet" userId="f269e1fc-1721-4a7b-893a-9a007a1a3fa4" providerId="ADAL" clId="{16EBF7D6-4402-4576-B992-53BFA8225EA4}" dt="2022-01-12T15:16:08.691" v="2107"/>
          <ac:graphicFrameMkLst>
            <pc:docMk/>
            <pc:sldMk cId="1557288435" sldId="746"/>
            <ac:graphicFrameMk id="9" creationId="{B144BD5A-D747-4421-BC0B-B27E4EE143BC}"/>
          </ac:graphicFrameMkLst>
        </pc:graphicFrameChg>
        <pc:graphicFrameChg chg="add mod">
          <ac:chgData name="Ruud Wijtvliet" userId="f269e1fc-1721-4a7b-893a-9a007a1a3fa4" providerId="ADAL" clId="{16EBF7D6-4402-4576-B992-53BFA8225EA4}" dt="2022-01-12T15:16:14.415" v="2111" actId="14100"/>
          <ac:graphicFrameMkLst>
            <pc:docMk/>
            <pc:sldMk cId="1557288435" sldId="746"/>
            <ac:graphicFrameMk id="10" creationId="{B144BD5A-D747-4421-BC0B-B27E4EE143BC}"/>
          </ac:graphicFrameMkLst>
        </pc:graphicFrameChg>
        <pc:graphicFrameChg chg="add mod">
          <ac:chgData name="Ruud Wijtvliet" userId="f269e1fc-1721-4a7b-893a-9a007a1a3fa4" providerId="ADAL" clId="{16EBF7D6-4402-4576-B992-53BFA8225EA4}" dt="2022-01-12T15:16:35.510" v="2115"/>
          <ac:graphicFrameMkLst>
            <pc:docMk/>
            <pc:sldMk cId="1557288435" sldId="746"/>
            <ac:graphicFrameMk id="11" creationId="{9EAE3EDD-474D-4B46-85BB-B67E32545CC6}"/>
          </ac:graphicFrameMkLst>
        </pc:graphicFrameChg>
        <pc:graphicFrameChg chg="add mod">
          <ac:chgData name="Ruud Wijtvliet" userId="f269e1fc-1721-4a7b-893a-9a007a1a3fa4" providerId="ADAL" clId="{16EBF7D6-4402-4576-B992-53BFA8225EA4}" dt="2022-01-12T15:16:41.203" v="2119" actId="14100"/>
          <ac:graphicFrameMkLst>
            <pc:docMk/>
            <pc:sldMk cId="1557288435" sldId="746"/>
            <ac:graphicFrameMk id="12" creationId="{9EAE3EDD-474D-4B46-85BB-B67E32545CC6}"/>
          </ac:graphicFrameMkLst>
        </pc:graphicFrameChg>
      </pc:sldChg>
      <pc:sldChg chg="addSp delSp modSp new mod ord">
        <pc:chgData name="Ruud Wijtvliet" userId="f269e1fc-1721-4a7b-893a-9a007a1a3fa4" providerId="ADAL" clId="{16EBF7D6-4402-4576-B992-53BFA8225EA4}" dt="2022-01-12T17:13:48.130" v="3173"/>
        <pc:sldMkLst>
          <pc:docMk/>
          <pc:sldMk cId="3092728457" sldId="747"/>
        </pc:sldMkLst>
        <pc:spChg chg="del">
          <ac:chgData name="Ruud Wijtvliet" userId="f269e1fc-1721-4a7b-893a-9a007a1a3fa4" providerId="ADAL" clId="{16EBF7D6-4402-4576-B992-53BFA8225EA4}" dt="2022-01-12T15:26:19.491" v="2145" actId="478"/>
          <ac:spMkLst>
            <pc:docMk/>
            <pc:sldMk cId="3092728457" sldId="747"/>
            <ac:spMk id="2" creationId="{7D872465-DF9F-4513-B429-7A1C840E472A}"/>
          </ac:spMkLst>
        </pc:spChg>
        <pc:spChg chg="mod">
          <ac:chgData name="Ruud Wijtvliet" userId="f269e1fc-1721-4a7b-893a-9a007a1a3fa4" providerId="ADAL" clId="{16EBF7D6-4402-4576-B992-53BFA8225EA4}" dt="2022-01-12T17:13:48.130" v="3173"/>
          <ac:spMkLst>
            <pc:docMk/>
            <pc:sldMk cId="3092728457" sldId="747"/>
            <ac:spMk id="3" creationId="{7EE3E5D2-6966-46CA-A142-F4EBD6ADED40}"/>
          </ac:spMkLst>
        </pc:spChg>
        <pc:spChg chg="mod">
          <ac:chgData name="Ruud Wijtvliet" userId="f269e1fc-1721-4a7b-893a-9a007a1a3fa4" providerId="ADAL" clId="{16EBF7D6-4402-4576-B992-53BFA8225EA4}" dt="2022-01-12T17:12:43.933" v="3100" actId="20577"/>
          <ac:spMkLst>
            <pc:docMk/>
            <pc:sldMk cId="3092728457" sldId="747"/>
            <ac:spMk id="5" creationId="{6A26191C-A2DD-4360-B9B8-230D1D96EF51}"/>
          </ac:spMkLst>
        </pc:spChg>
        <pc:spChg chg="add mod">
          <ac:chgData name="Ruud Wijtvliet" userId="f269e1fc-1721-4a7b-893a-9a007a1a3fa4" providerId="ADAL" clId="{16EBF7D6-4402-4576-B992-53BFA8225EA4}" dt="2022-01-12T17:01:45.364" v="2928" actId="1035"/>
          <ac:spMkLst>
            <pc:docMk/>
            <pc:sldMk cId="3092728457" sldId="747"/>
            <ac:spMk id="13" creationId="{CF62BC13-FD9C-41ED-9EED-7B56E8798D36}"/>
          </ac:spMkLst>
        </pc:spChg>
        <pc:spChg chg="add del mod">
          <ac:chgData name="Ruud Wijtvliet" userId="f269e1fc-1721-4a7b-893a-9a007a1a3fa4" providerId="ADAL" clId="{16EBF7D6-4402-4576-B992-53BFA8225EA4}" dt="2022-01-12T16:54:39.198" v="2886" actId="478"/>
          <ac:spMkLst>
            <pc:docMk/>
            <pc:sldMk cId="3092728457" sldId="747"/>
            <ac:spMk id="16" creationId="{4ACDE78B-763F-4BCA-B2D2-B24A6237F0B7}"/>
          </ac:spMkLst>
        </pc:spChg>
        <pc:spChg chg="add mod">
          <ac:chgData name="Ruud Wijtvliet" userId="f269e1fc-1721-4a7b-893a-9a007a1a3fa4" providerId="ADAL" clId="{16EBF7D6-4402-4576-B992-53BFA8225EA4}" dt="2022-01-12T17:02:24.494" v="2946" actId="13926"/>
          <ac:spMkLst>
            <pc:docMk/>
            <pc:sldMk cId="3092728457" sldId="747"/>
            <ac:spMk id="21" creationId="{F410386E-C4D7-401F-BFAB-A68D616E1601}"/>
          </ac:spMkLst>
        </pc:spChg>
        <pc:graphicFrameChg chg="add mod">
          <ac:chgData name="Ruud Wijtvliet" userId="f269e1fc-1721-4a7b-893a-9a007a1a3fa4" providerId="ADAL" clId="{16EBF7D6-4402-4576-B992-53BFA8225EA4}" dt="2022-01-12T15:26:49.273" v="2148"/>
          <ac:graphicFrameMkLst>
            <pc:docMk/>
            <pc:sldMk cId="3092728457" sldId="747"/>
            <ac:graphicFrameMk id="6" creationId="{5E4107A6-ED17-41D8-9137-052DCFFB2193}"/>
          </ac:graphicFrameMkLst>
        </pc:graphicFrameChg>
        <pc:graphicFrameChg chg="add mod">
          <ac:chgData name="Ruud Wijtvliet" userId="f269e1fc-1721-4a7b-893a-9a007a1a3fa4" providerId="ADAL" clId="{16EBF7D6-4402-4576-B992-53BFA8225EA4}" dt="2022-01-12T17:07:09.728" v="2966" actId="20577"/>
          <ac:graphicFrameMkLst>
            <pc:docMk/>
            <pc:sldMk cId="3092728457" sldId="747"/>
            <ac:graphicFrameMk id="7" creationId="{5E4107A6-ED17-41D8-9137-052DCFFB2193}"/>
          </ac:graphicFrameMkLst>
        </pc:graphicFrameChg>
        <pc:graphicFrameChg chg="add mod">
          <ac:chgData name="Ruud Wijtvliet" userId="f269e1fc-1721-4a7b-893a-9a007a1a3fa4" providerId="ADAL" clId="{16EBF7D6-4402-4576-B992-53BFA8225EA4}" dt="2022-01-12T15:27:13.767" v="2154"/>
          <ac:graphicFrameMkLst>
            <pc:docMk/>
            <pc:sldMk cId="3092728457" sldId="747"/>
            <ac:graphicFrameMk id="8" creationId="{1DFB1584-4171-4FAB-9756-8343B156A53F}"/>
          </ac:graphicFrameMkLst>
        </pc:graphicFrameChg>
        <pc:graphicFrameChg chg="add mod">
          <ac:chgData name="Ruud Wijtvliet" userId="f269e1fc-1721-4a7b-893a-9a007a1a3fa4" providerId="ADAL" clId="{16EBF7D6-4402-4576-B992-53BFA8225EA4}" dt="2022-01-12T15:27:27.020" v="2164"/>
          <ac:graphicFrameMkLst>
            <pc:docMk/>
            <pc:sldMk cId="3092728457" sldId="747"/>
            <ac:graphicFrameMk id="10" creationId="{949F4691-3706-46F6-ADEF-A7CC61E4D6A1}"/>
          </ac:graphicFrameMkLst>
        </pc:graphicFrameChg>
        <pc:graphicFrameChg chg="add mod">
          <ac:chgData name="Ruud Wijtvliet" userId="f269e1fc-1721-4a7b-893a-9a007a1a3fa4" providerId="ADAL" clId="{16EBF7D6-4402-4576-B992-53BFA8225EA4}" dt="2022-01-12T17:07:13.914" v="2974" actId="20577"/>
          <ac:graphicFrameMkLst>
            <pc:docMk/>
            <pc:sldMk cId="3092728457" sldId="747"/>
            <ac:graphicFrameMk id="11" creationId="{949F4691-3706-46F6-ADEF-A7CC61E4D6A1}"/>
          </ac:graphicFrameMkLst>
        </pc:graphicFrameChg>
        <pc:graphicFrameChg chg="add del mod">
          <ac:chgData name="Ruud Wijtvliet" userId="f269e1fc-1721-4a7b-893a-9a007a1a3fa4" providerId="ADAL" clId="{16EBF7D6-4402-4576-B992-53BFA8225EA4}" dt="2022-01-12T16:54:39.198" v="2886" actId="478"/>
          <ac:graphicFrameMkLst>
            <pc:docMk/>
            <pc:sldMk cId="3092728457" sldId="747"/>
            <ac:graphicFrameMk id="14" creationId="{2D20F7CC-102D-4AC2-A8C3-2C2C5F8134AD}"/>
          </ac:graphicFrameMkLst>
        </pc:graphicFrameChg>
        <pc:graphicFrameChg chg="add del mod">
          <ac:chgData name="Ruud Wijtvliet" userId="f269e1fc-1721-4a7b-893a-9a007a1a3fa4" providerId="ADAL" clId="{16EBF7D6-4402-4576-B992-53BFA8225EA4}" dt="2022-01-12T16:54:39.198" v="2886" actId="478"/>
          <ac:graphicFrameMkLst>
            <pc:docMk/>
            <pc:sldMk cId="3092728457" sldId="747"/>
            <ac:graphicFrameMk id="15" creationId="{080A65B2-5CD4-4B37-A510-2B19F64F10B6}"/>
          </ac:graphicFrameMkLst>
        </pc:graphicFrameChg>
        <pc:graphicFrameChg chg="add mod">
          <ac:chgData name="Ruud Wijtvliet" userId="f269e1fc-1721-4a7b-893a-9a007a1a3fa4" providerId="ADAL" clId="{16EBF7D6-4402-4576-B992-53BFA8225EA4}" dt="2022-01-12T16:58:47.312" v="2891"/>
          <ac:graphicFrameMkLst>
            <pc:docMk/>
            <pc:sldMk cId="3092728457" sldId="747"/>
            <ac:graphicFrameMk id="17" creationId="{5D11B4B5-7439-4F82-BE3D-5FFB7DA06062}"/>
          </ac:graphicFrameMkLst>
        </pc:graphicFrameChg>
        <pc:graphicFrameChg chg="add mod">
          <ac:chgData name="Ruud Wijtvliet" userId="f269e1fc-1721-4a7b-893a-9a007a1a3fa4" providerId="ADAL" clId="{16EBF7D6-4402-4576-B992-53BFA8225EA4}" dt="2022-01-12T17:07:23.478" v="2992" actId="20577"/>
          <ac:graphicFrameMkLst>
            <pc:docMk/>
            <pc:sldMk cId="3092728457" sldId="747"/>
            <ac:graphicFrameMk id="18" creationId="{5D11B4B5-7439-4F82-BE3D-5FFB7DA06062}"/>
          </ac:graphicFrameMkLst>
        </pc:graphicFrameChg>
        <pc:graphicFrameChg chg="add mod">
          <ac:chgData name="Ruud Wijtvliet" userId="f269e1fc-1721-4a7b-893a-9a007a1a3fa4" providerId="ADAL" clId="{16EBF7D6-4402-4576-B992-53BFA8225EA4}" dt="2022-01-12T17:00:06.196" v="2902"/>
          <ac:graphicFrameMkLst>
            <pc:docMk/>
            <pc:sldMk cId="3092728457" sldId="747"/>
            <ac:graphicFrameMk id="19" creationId="{6BADAC90-B074-47F0-AC87-7DF4860A340C}"/>
          </ac:graphicFrameMkLst>
        </pc:graphicFrameChg>
        <pc:graphicFrameChg chg="add mod">
          <ac:chgData name="Ruud Wijtvliet" userId="f269e1fc-1721-4a7b-893a-9a007a1a3fa4" providerId="ADAL" clId="{16EBF7D6-4402-4576-B992-53BFA8225EA4}" dt="2022-01-12T17:07:19.630" v="2984" actId="20577"/>
          <ac:graphicFrameMkLst>
            <pc:docMk/>
            <pc:sldMk cId="3092728457" sldId="747"/>
            <ac:graphicFrameMk id="20" creationId="{6BADAC90-B074-47F0-AC87-7DF4860A340C}"/>
          </ac:graphicFrameMkLst>
        </pc:graphicFrameChg>
        <pc:picChg chg="add del mod">
          <ac:chgData name="Ruud Wijtvliet" userId="f269e1fc-1721-4a7b-893a-9a007a1a3fa4" providerId="ADAL" clId="{16EBF7D6-4402-4576-B992-53BFA8225EA4}" dt="2022-01-12T15:27:18.920" v="2157" actId="478"/>
          <ac:picMkLst>
            <pc:docMk/>
            <pc:sldMk cId="3092728457" sldId="747"/>
            <ac:picMk id="9" creationId="{1AE75A0F-9BFC-41F8-97E1-DCE00E56AD3E}"/>
          </ac:picMkLst>
        </pc:picChg>
      </pc:sldChg>
      <pc:sldChg chg="addSp delSp modSp new mod">
        <pc:chgData name="Ruud Wijtvliet" userId="f269e1fc-1721-4a7b-893a-9a007a1a3fa4" providerId="ADAL" clId="{16EBF7D6-4402-4576-B992-53BFA8225EA4}" dt="2022-01-12T18:22:15.450" v="3844" actId="14100"/>
        <pc:sldMkLst>
          <pc:docMk/>
          <pc:sldMk cId="536519166" sldId="748"/>
        </pc:sldMkLst>
        <pc:spChg chg="mod">
          <ac:chgData name="Ruud Wijtvliet" userId="f269e1fc-1721-4a7b-893a-9a007a1a3fa4" providerId="ADAL" clId="{16EBF7D6-4402-4576-B992-53BFA8225EA4}" dt="2022-01-12T18:17:40.748" v="3553" actId="20577"/>
          <ac:spMkLst>
            <pc:docMk/>
            <pc:sldMk cId="536519166" sldId="748"/>
            <ac:spMk id="2" creationId="{65D460E4-12DD-4611-B698-D3A1640036F8}"/>
          </ac:spMkLst>
        </pc:spChg>
        <pc:spChg chg="mod">
          <ac:chgData name="Ruud Wijtvliet" userId="f269e1fc-1721-4a7b-893a-9a007a1a3fa4" providerId="ADAL" clId="{16EBF7D6-4402-4576-B992-53BFA8225EA4}" dt="2022-01-12T17:16:28.787" v="3293" actId="20577"/>
          <ac:spMkLst>
            <pc:docMk/>
            <pc:sldMk cId="536519166" sldId="748"/>
            <ac:spMk id="3" creationId="{10A7DE60-790F-4A02-B1E0-2A97CDCA8A75}"/>
          </ac:spMkLst>
        </pc:spChg>
        <pc:spChg chg="mod">
          <ac:chgData name="Ruud Wijtvliet" userId="f269e1fc-1721-4a7b-893a-9a007a1a3fa4" providerId="ADAL" clId="{16EBF7D6-4402-4576-B992-53BFA8225EA4}" dt="2022-01-12T17:17:40.571" v="3415" actId="20577"/>
          <ac:spMkLst>
            <pc:docMk/>
            <pc:sldMk cId="536519166" sldId="748"/>
            <ac:spMk id="5" creationId="{E3791829-477D-4536-B778-FB8EE3447030}"/>
          </ac:spMkLst>
        </pc:spChg>
        <pc:spChg chg="add mod">
          <ac:chgData name="Ruud Wijtvliet" userId="f269e1fc-1721-4a7b-893a-9a007a1a3fa4" providerId="ADAL" clId="{16EBF7D6-4402-4576-B992-53BFA8225EA4}" dt="2022-01-12T18:17:31.787" v="3547" actId="14100"/>
          <ac:spMkLst>
            <pc:docMk/>
            <pc:sldMk cId="536519166" sldId="748"/>
            <ac:spMk id="11" creationId="{A1B3B4BC-19DC-404B-A0DC-E0E8B6B2FB23}"/>
          </ac:spMkLst>
        </pc:spChg>
        <pc:spChg chg="add mod">
          <ac:chgData name="Ruud Wijtvliet" userId="f269e1fc-1721-4a7b-893a-9a007a1a3fa4" providerId="ADAL" clId="{16EBF7D6-4402-4576-B992-53BFA8225EA4}" dt="2022-01-12T18:18:22.118" v="3568" actId="1076"/>
          <ac:spMkLst>
            <pc:docMk/>
            <pc:sldMk cId="536519166" sldId="748"/>
            <ac:spMk id="12" creationId="{AFCBBEB7-1700-4E8D-BDDB-73BDA9708B9F}"/>
          </ac:spMkLst>
        </pc:spChg>
        <pc:spChg chg="add mod">
          <ac:chgData name="Ruud Wijtvliet" userId="f269e1fc-1721-4a7b-893a-9a007a1a3fa4" providerId="ADAL" clId="{16EBF7D6-4402-4576-B992-53BFA8225EA4}" dt="2022-01-12T18:21:16.854" v="3715" actId="20577"/>
          <ac:spMkLst>
            <pc:docMk/>
            <pc:sldMk cId="536519166" sldId="748"/>
            <ac:spMk id="13" creationId="{004CFAC3-D300-4B82-9FB6-448A92F551F2}"/>
          </ac:spMkLst>
        </pc:spChg>
        <pc:spChg chg="add mod">
          <ac:chgData name="Ruud Wijtvliet" userId="f269e1fc-1721-4a7b-893a-9a007a1a3fa4" providerId="ADAL" clId="{16EBF7D6-4402-4576-B992-53BFA8225EA4}" dt="2022-01-12T18:22:09.576" v="3843" actId="20577"/>
          <ac:spMkLst>
            <pc:docMk/>
            <pc:sldMk cId="536519166" sldId="748"/>
            <ac:spMk id="17" creationId="{2DFA8653-9D6C-455F-9346-BD6D829FD74F}"/>
          </ac:spMkLst>
        </pc:spChg>
        <pc:graphicFrameChg chg="add del mod">
          <ac:chgData name="Ruud Wijtvliet" userId="f269e1fc-1721-4a7b-893a-9a007a1a3fa4" providerId="ADAL" clId="{16EBF7D6-4402-4576-B992-53BFA8225EA4}" dt="2022-01-12T18:06:51.668" v="3495" actId="478"/>
          <ac:graphicFrameMkLst>
            <pc:docMk/>
            <pc:sldMk cId="536519166" sldId="748"/>
            <ac:graphicFrameMk id="6" creationId="{EC2D5E40-1106-461D-979E-E2F30657491B}"/>
          </ac:graphicFrameMkLst>
        </pc:graphicFrameChg>
        <pc:graphicFrameChg chg="add del mod">
          <ac:chgData name="Ruud Wijtvliet" userId="f269e1fc-1721-4a7b-893a-9a007a1a3fa4" providerId="ADAL" clId="{16EBF7D6-4402-4576-B992-53BFA8225EA4}" dt="2022-01-12T18:08:07.086" v="3503"/>
          <ac:graphicFrameMkLst>
            <pc:docMk/>
            <pc:sldMk cId="536519166" sldId="748"/>
            <ac:graphicFrameMk id="7" creationId="{A19BA3D6-D2D2-4EBA-A5EF-3DB613BA0EFB}"/>
          </ac:graphicFrameMkLst>
        </pc:graphicFrameChg>
        <pc:graphicFrameChg chg="add del mod modGraphic">
          <ac:chgData name="Ruud Wijtvliet" userId="f269e1fc-1721-4a7b-893a-9a007a1a3fa4" providerId="ADAL" clId="{16EBF7D6-4402-4576-B992-53BFA8225EA4}" dt="2022-01-12T18:15:49.087" v="3512" actId="478"/>
          <ac:graphicFrameMkLst>
            <pc:docMk/>
            <pc:sldMk cId="536519166" sldId="748"/>
            <ac:graphicFrameMk id="8" creationId="{6315D5F3-A886-4FE6-B799-EE36A1A11833}"/>
          </ac:graphicFrameMkLst>
        </pc:graphicFrameChg>
        <pc:graphicFrameChg chg="add del mod">
          <ac:chgData name="Ruud Wijtvliet" userId="f269e1fc-1721-4a7b-893a-9a007a1a3fa4" providerId="ADAL" clId="{16EBF7D6-4402-4576-B992-53BFA8225EA4}" dt="2022-01-12T18:15:55.523" v="3518"/>
          <ac:graphicFrameMkLst>
            <pc:docMk/>
            <pc:sldMk cId="536519166" sldId="748"/>
            <ac:graphicFrameMk id="9" creationId="{A1256131-44E1-464A-8069-D0316E345AB7}"/>
          </ac:graphicFrameMkLst>
        </pc:graphicFrameChg>
        <pc:graphicFrameChg chg="add mod modGraphic">
          <ac:chgData name="Ruud Wijtvliet" userId="f269e1fc-1721-4a7b-893a-9a007a1a3fa4" providerId="ADAL" clId="{16EBF7D6-4402-4576-B992-53BFA8225EA4}" dt="2022-01-12T18:16:34.921" v="3537" actId="1076"/>
          <ac:graphicFrameMkLst>
            <pc:docMk/>
            <pc:sldMk cId="536519166" sldId="748"/>
            <ac:graphicFrameMk id="10" creationId="{C8E752E0-9233-41DA-B271-A768C5C76AFD}"/>
          </ac:graphicFrameMkLst>
        </pc:graphicFrameChg>
        <pc:cxnChg chg="add mod">
          <ac:chgData name="Ruud Wijtvliet" userId="f269e1fc-1721-4a7b-893a-9a007a1a3fa4" providerId="ADAL" clId="{16EBF7D6-4402-4576-B992-53BFA8225EA4}" dt="2022-01-12T18:20:19.753" v="3644" actId="208"/>
          <ac:cxnSpMkLst>
            <pc:docMk/>
            <pc:sldMk cId="536519166" sldId="748"/>
            <ac:cxnSpMk id="15" creationId="{DFCD2EC4-04D5-4E44-8DA5-120C36F2C8C4}"/>
          </ac:cxnSpMkLst>
        </pc:cxnChg>
        <pc:cxnChg chg="add mod">
          <ac:chgData name="Ruud Wijtvliet" userId="f269e1fc-1721-4a7b-893a-9a007a1a3fa4" providerId="ADAL" clId="{16EBF7D6-4402-4576-B992-53BFA8225EA4}" dt="2022-01-12T18:22:15.450" v="3844" actId="14100"/>
          <ac:cxnSpMkLst>
            <pc:docMk/>
            <pc:sldMk cId="536519166" sldId="748"/>
            <ac:cxnSpMk id="18" creationId="{7DB973ED-4D2D-462E-9576-7D97C78EB11E}"/>
          </ac:cxnSpMkLst>
        </pc:cxnChg>
      </pc:sldChg>
    </pc:docChg>
  </pc:docChgLst>
  <pc:docChgLst>
    <pc:chgData name="Ruud Wijtvliet" userId="f269e1fc-1721-4a7b-893a-9a007a1a3fa4" providerId="ADAL" clId="{20F2B350-5994-412D-BA65-CE0A80A41064}"/>
    <pc:docChg chg="modSld">
      <pc:chgData name="Ruud Wijtvliet" userId="f269e1fc-1721-4a7b-893a-9a007a1a3fa4" providerId="ADAL" clId="{20F2B350-5994-412D-BA65-CE0A80A41064}" dt="2022-01-12T13:33:27.517" v="1" actId="27918"/>
      <pc:docMkLst>
        <pc:docMk/>
      </pc:docMkLst>
      <pc:sldChg chg="mod">
        <pc:chgData name="Ruud Wijtvliet" userId="f269e1fc-1721-4a7b-893a-9a007a1a3fa4" providerId="ADAL" clId="{20F2B350-5994-412D-BA65-CE0A80A41064}" dt="2022-01-12T13:33:27.517" v="1" actId="27918"/>
        <pc:sldMkLst>
          <pc:docMk/>
          <pc:sldMk cId="2024248866" sldId="743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oleObject" Target="https://lichtblickit-my.sharepoint.com/personal/ruud_wijtvliet_lichtblick_de/Documents/Work_in_RM/python/2020_01_lichtblyck/scripts/2022_01%20AdhocTanja%20NovDez2021/data.xlsx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oleObject" Target="https://lichtblickit-my.sharepoint.com/personal/ruud_wijtvliet_lichtblick_de/Documents/Work_in_RM/python/2020_01_lichtblyck/scripts/2022_01%20AdhocTanja%20NovDez2021/data.xlsx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package" Target="../embeddings/Microsoft_Excel_Worksheet.xlsx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5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package" Target="../embeddings/Microsoft_Excel_Worksheet2.xlsx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.xlsx"/><Relationship Id="rId1" Type="http://schemas.openxmlformats.org/officeDocument/2006/relationships/themeOverride" Target="../theme/themeOverrid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7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oleObject" Target="https://lichtblickit-my.sharepoint.com/personal/ruud_wijtvliet_lichtblick_de/Documents/Work_in_RM/python/2020_01_lichtblyck/scripts/2022_01%20AdhocTanja%20NovDez2021/Temperaturen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P2H:</a:t>
            </a:r>
            <a:r>
              <a:rPr lang="en-US" baseline="0" dirty="0"/>
              <a:t> volumes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monthly!$M$1</c:f>
              <c:strCache>
                <c:ptCount val="1"/>
                <c:pt idx="0">
                  <c:v>Forward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monthly!$A$5:$A$7</c:f>
              <c:strCache>
                <c:ptCount val="3"/>
                <c:pt idx="0">
                  <c:v>2021-M10</c:v>
                </c:pt>
                <c:pt idx="1">
                  <c:v>2021-M11</c:v>
                </c:pt>
                <c:pt idx="2">
                  <c:v>2021-M12</c:v>
                </c:pt>
              </c:strCache>
            </c:strRef>
          </c:cat>
          <c:val>
            <c:numRef>
              <c:f>monthly!$N$5:$N$7</c:f>
              <c:numCache>
                <c:formatCode>#,##0_);\(#,##0\)</c:formatCode>
                <c:ptCount val="3"/>
                <c:pt idx="0">
                  <c:v>135225.13199999899</c:v>
                </c:pt>
                <c:pt idx="1">
                  <c:v>183102.78799999901</c:v>
                </c:pt>
                <c:pt idx="2">
                  <c:v>223233.491999999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C92-4780-8E30-9AE726F46E94}"/>
            </c:ext>
          </c:extLst>
        </c:ser>
        <c:ser>
          <c:idx val="1"/>
          <c:order val="1"/>
          <c:tx>
            <c:strRef>
              <c:f>monthly!$Q$1</c:f>
              <c:strCache>
                <c:ptCount val="1"/>
                <c:pt idx="0">
                  <c:v>Spot</c:v>
                </c:pt>
              </c:strCache>
            </c:strRef>
          </c:tx>
          <c:spPr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monthly!$A$5:$A$7</c:f>
              <c:strCache>
                <c:ptCount val="3"/>
                <c:pt idx="0">
                  <c:v>2021-M10</c:v>
                </c:pt>
                <c:pt idx="1">
                  <c:v>2021-M11</c:v>
                </c:pt>
                <c:pt idx="2">
                  <c:v>2021-M12</c:v>
                </c:pt>
              </c:strCache>
            </c:strRef>
          </c:cat>
          <c:val>
            <c:numRef>
              <c:f>monthly!$R$5:$R$7</c:f>
              <c:numCache>
                <c:formatCode>#,##0_);\(#,##0\)</c:formatCode>
                <c:ptCount val="3"/>
                <c:pt idx="0">
                  <c:v>4440.2652500000504</c:v>
                </c:pt>
                <c:pt idx="1">
                  <c:v>18619.9662500003</c:v>
                </c:pt>
                <c:pt idx="2">
                  <c:v>20143.79925000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C92-4780-8E30-9AE726F46E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"/>
        <c:overlap val="100"/>
        <c:axId val="1099546240"/>
        <c:axId val="1099551232"/>
      </c:barChart>
      <c:catAx>
        <c:axId val="1099546240"/>
        <c:scaling>
          <c:orientation val="minMax"/>
        </c:scaling>
        <c:delete val="0"/>
        <c:axPos val="b"/>
        <c:numFmt formatCode="General" sourceLinked="1"/>
        <c:majorTickMark val="none"/>
        <c:minorTickMark val="out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99551232"/>
        <c:crosses val="autoZero"/>
        <c:auto val="0"/>
        <c:lblAlgn val="ctr"/>
        <c:lblOffset val="100"/>
        <c:tickLblSkip val="1"/>
        <c:tickMarkSkip val="1"/>
        <c:noMultiLvlLbl val="0"/>
      </c:catAx>
      <c:valAx>
        <c:axId val="10995512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99546240"/>
        <c:crosses val="autoZero"/>
        <c:crossBetween val="between"/>
        <c:dispUnits>
          <c:builtInUnit val="thousands"/>
          <c:dispUnitsLbl>
            <c:tx>
              <c:rich>
                <a:bodyPr rot="-5400000" spcFirstLastPara="1" vertOverflow="ellipsis" vert="horz" wrap="square" anchor="ctr" anchorCtr="1"/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r>
                    <a:rPr lang="en-US"/>
                    <a:t>GWh</a:t>
                  </a:r>
                </a:p>
              </c:rich>
            </c:tx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</c:dispUnitsLbl>
        </c:dispUnits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 b="0" i="0" u="none" strike="noStrike" baseline="0" dirty="0">
                <a:effectLst/>
              </a:rPr>
              <a:t>Gas B2C Legacy</a:t>
            </a:r>
            <a:r>
              <a:rPr lang="en-US" dirty="0"/>
              <a:t>:</a:t>
            </a:r>
            <a:r>
              <a:rPr lang="en-US" baseline="0" dirty="0"/>
              <a:t> volumes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gasb2c_monthly!$M$1</c:f>
              <c:strCache>
                <c:ptCount val="1"/>
                <c:pt idx="0">
                  <c:v>Forward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gasb2c_monthly!$A$5:$A$7</c:f>
              <c:strCache>
                <c:ptCount val="3"/>
                <c:pt idx="0">
                  <c:v>2021-M10</c:v>
                </c:pt>
                <c:pt idx="1">
                  <c:v>2021-M11</c:v>
                </c:pt>
                <c:pt idx="2">
                  <c:v>2021-M12</c:v>
                </c:pt>
              </c:strCache>
            </c:strRef>
          </c:cat>
          <c:val>
            <c:numRef>
              <c:f>gasb2c_monthly!$N$5:$N$7</c:f>
              <c:numCache>
                <c:formatCode>#,##0_);\(#,##0\)</c:formatCode>
                <c:ptCount val="3"/>
                <c:pt idx="0">
                  <c:v>68964.956000000006</c:v>
                </c:pt>
                <c:pt idx="1">
                  <c:v>112601.304</c:v>
                </c:pt>
                <c:pt idx="2">
                  <c:v>134844.591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6DD-4A3B-9B34-1D64BCCBA8C9}"/>
            </c:ext>
          </c:extLst>
        </c:ser>
        <c:ser>
          <c:idx val="1"/>
          <c:order val="1"/>
          <c:tx>
            <c:strRef>
              <c:f>gasb2c_monthly!$Q$1</c:f>
              <c:strCache>
                <c:ptCount val="1"/>
                <c:pt idx="0">
                  <c:v>Spot</c:v>
                </c:pt>
              </c:strCache>
            </c:strRef>
          </c:tx>
          <c:spPr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gasb2c_monthly!$A$5:$A$7</c:f>
              <c:strCache>
                <c:ptCount val="3"/>
                <c:pt idx="0">
                  <c:v>2021-M10</c:v>
                </c:pt>
                <c:pt idx="1">
                  <c:v>2021-M11</c:v>
                </c:pt>
                <c:pt idx="2">
                  <c:v>2021-M12</c:v>
                </c:pt>
              </c:strCache>
            </c:strRef>
          </c:cat>
          <c:val>
            <c:numRef>
              <c:f>gasb2c_monthly!$R$5:$R$7</c:f>
              <c:numCache>
                <c:formatCode>#,##0_);\(#,##0\)</c:formatCode>
                <c:ptCount val="3"/>
                <c:pt idx="0">
                  <c:v>2679.2711452540061</c:v>
                </c:pt>
                <c:pt idx="1">
                  <c:v>-3509.2470113113959</c:v>
                </c:pt>
                <c:pt idx="2">
                  <c:v>9369.59870482212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6DD-4A3B-9B34-1D64BCCBA8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"/>
        <c:overlap val="100"/>
        <c:axId val="1099546240"/>
        <c:axId val="1099551232"/>
      </c:barChart>
      <c:catAx>
        <c:axId val="1099546240"/>
        <c:scaling>
          <c:orientation val="minMax"/>
        </c:scaling>
        <c:delete val="0"/>
        <c:axPos val="b"/>
        <c:numFmt formatCode="General" sourceLinked="1"/>
        <c:majorTickMark val="none"/>
        <c:minorTickMark val="out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99551232"/>
        <c:crosses val="autoZero"/>
        <c:auto val="0"/>
        <c:lblAlgn val="ctr"/>
        <c:lblOffset val="100"/>
        <c:tickLblSkip val="1"/>
        <c:tickMarkSkip val="1"/>
        <c:noMultiLvlLbl val="0"/>
      </c:catAx>
      <c:valAx>
        <c:axId val="10995512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99546240"/>
        <c:crosses val="autoZero"/>
        <c:crossBetween val="between"/>
        <c:dispUnits>
          <c:builtInUnit val="thousands"/>
          <c:dispUnitsLbl>
            <c:tx>
              <c:rich>
                <a:bodyPr rot="-5400000" spcFirstLastPara="1" vertOverflow="ellipsis" vert="horz" wrap="square" anchor="ctr" anchorCtr="1"/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r>
                    <a:rPr lang="en-US"/>
                    <a:t>GWh</a:t>
                  </a:r>
                </a:p>
              </c:rich>
            </c:tx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</c:dispUnitsLbl>
        </c:dispUnits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 b="0" i="0" u="none" strike="noStrike" baseline="0">
                <a:effectLst/>
              </a:rPr>
              <a:t>Gas B2C Legacy</a:t>
            </a:r>
            <a:r>
              <a:rPr lang="en-US"/>
              <a:t>:</a:t>
            </a:r>
            <a:r>
              <a:rPr lang="en-US" baseline="0"/>
              <a:t> prices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gasb2c_monthly!$I$1</c:f>
              <c:strCache>
                <c:ptCount val="1"/>
                <c:pt idx="0">
                  <c:v>Actual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gasb2c_monthly!$A$5:$A$7</c:f>
              <c:strCache>
                <c:ptCount val="3"/>
                <c:pt idx="0">
                  <c:v>2021-M10</c:v>
                </c:pt>
                <c:pt idx="1">
                  <c:v>2021-M11</c:v>
                </c:pt>
                <c:pt idx="2">
                  <c:v>2021-M12</c:v>
                </c:pt>
              </c:strCache>
            </c:strRef>
          </c:cat>
          <c:val>
            <c:numRef>
              <c:f>gasb2c_monthly!$K$5:$K$7</c:f>
              <c:numCache>
                <c:formatCode>#,##0.00_);\(#,##0.00\)</c:formatCode>
                <c:ptCount val="3"/>
                <c:pt idx="0">
                  <c:v>20.72214368581513</c:v>
                </c:pt>
                <c:pt idx="1">
                  <c:v>20.479031627450826</c:v>
                </c:pt>
                <c:pt idx="2">
                  <c:v>25.8570021526831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68D-4200-8DF0-CD9158F58C33}"/>
            </c:ext>
          </c:extLst>
        </c:ser>
        <c:ser>
          <c:idx val="2"/>
          <c:order val="1"/>
          <c:tx>
            <c:strRef>
              <c:f>gasb2c_monthly!$D$2</c:f>
              <c:strCache>
                <c:ptCount val="1"/>
                <c:pt idx="0">
                  <c:v>FSP2020</c:v>
                </c:pt>
              </c:strCache>
            </c:strRef>
          </c:tx>
          <c:spPr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gasb2c_monthly!$D$5:$D$7</c:f>
              <c:numCache>
                <c:formatCode>#,##0.00_);\(#,##0.00\)</c:formatCode>
                <c:ptCount val="3"/>
                <c:pt idx="0">
                  <c:v>18.185224180535251</c:v>
                </c:pt>
                <c:pt idx="1">
                  <c:v>17.639230443304921</c:v>
                </c:pt>
                <c:pt idx="2">
                  <c:v>20.5697593142835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68D-4200-8DF0-CD9158F58C3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099546240"/>
        <c:axId val="1099551232"/>
      </c:barChart>
      <c:catAx>
        <c:axId val="1099546240"/>
        <c:scaling>
          <c:orientation val="minMax"/>
        </c:scaling>
        <c:delete val="0"/>
        <c:axPos val="b"/>
        <c:numFmt formatCode="m/d/yyyy" sourceLinked="0"/>
        <c:majorTickMark val="none"/>
        <c:minorTickMark val="out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99551232"/>
        <c:crosses val="autoZero"/>
        <c:auto val="0"/>
        <c:lblAlgn val="ctr"/>
        <c:lblOffset val="100"/>
        <c:noMultiLvlLbl val="0"/>
      </c:catAx>
      <c:valAx>
        <c:axId val="10995512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Eur/MWh</a:t>
                </a:r>
              </a:p>
            </c:rich>
          </c:tx>
          <c:layout>
            <c:manualLayout>
              <c:xMode val="edge"/>
              <c:yMode val="edge"/>
              <c:x val="2.3518518518518518E-2"/>
              <c:y val="0.16396216097987751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995462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 b="0" i="0" u="none" strike="noStrike" baseline="0">
                <a:effectLst/>
              </a:rPr>
              <a:t>Gas B2C Legacy</a:t>
            </a:r>
            <a:r>
              <a:rPr lang="en-US"/>
              <a:t>: sourcing</a:t>
            </a:r>
            <a:r>
              <a:rPr lang="en-US" baseline="0"/>
              <a:t> result</a:t>
            </a:r>
            <a:endParaRPr lang="en-US"/>
          </a:p>
        </c:rich>
      </c:tx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1"/>
          <c:order val="0"/>
          <c:tx>
            <c:strRef>
              <c:f>gasb2c_monthly!$L$8</c:f>
              <c:strCache>
                <c:ptCount val="1"/>
                <c:pt idx="0">
                  <c:v>Actual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</c:spPr>
          <c:invertIfNegative val="0"/>
          <c:cat>
            <c:strRef>
              <c:f>gasb2c_monthly!$A$5:$A$7</c:f>
              <c:strCache>
                <c:ptCount val="3"/>
                <c:pt idx="0">
                  <c:v>2021-M10</c:v>
                </c:pt>
                <c:pt idx="1">
                  <c:v>2021-M11</c:v>
                </c:pt>
                <c:pt idx="2">
                  <c:v>2021-M12</c:v>
                </c:pt>
              </c:strCache>
            </c:strRef>
          </c:cat>
          <c:val>
            <c:numRef>
              <c:f>gasb2c_monthly!$L$5:$L$7</c:f>
              <c:numCache>
                <c:formatCode>#,##0_);\(#,##0\)</c:formatCode>
                <c:ptCount val="3"/>
                <c:pt idx="0">
                  <c:v>1484621.9691631305</c:v>
                </c:pt>
                <c:pt idx="1">
                  <c:v>2234099.6853750218</c:v>
                </c:pt>
                <c:pt idx="2">
                  <c:v>3728946.61364503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540-4308-B88C-E28AD2095E47}"/>
            </c:ext>
          </c:extLst>
        </c:ser>
        <c:ser>
          <c:idx val="3"/>
          <c:order val="1"/>
          <c:tx>
            <c:strRef>
              <c:f>gasb2c_monthly!$F$8</c:f>
              <c:strCache>
                <c:ptCount val="1"/>
                <c:pt idx="0">
                  <c:v>FSP2020</c:v>
                </c:pt>
              </c:strCache>
            </c:strRef>
          </c:tx>
          <c:spPr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</c:spPr>
          <c:invertIfNegative val="0"/>
          <c:val>
            <c:numRef>
              <c:f>gasb2c_monthly!$F$5:$F$7</c:f>
              <c:numCache>
                <c:formatCode>#,##0_);\(#,##0\)</c:formatCode>
                <c:ptCount val="3"/>
                <c:pt idx="0">
                  <c:v>1302866.3318776332</c:v>
                </c:pt>
                <c:pt idx="1">
                  <c:v>1924299.9327576314</c:v>
                </c:pt>
                <c:pt idx="2">
                  <c:v>2966451.17193262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540-4308-B88C-E28AD2095E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099546240"/>
        <c:axId val="1099551232"/>
      </c:barChart>
      <c:lineChart>
        <c:grouping val="standard"/>
        <c:varyColors val="0"/>
        <c:ser>
          <c:idx val="2"/>
          <c:order val="2"/>
          <c:tx>
            <c:strRef>
              <c:f>gasb2c_monthly!$G$8</c:f>
              <c:strCache>
                <c:ptCount val="1"/>
                <c:pt idx="0">
                  <c:v>(Values: Net result)</c:v>
                </c:pt>
              </c:strCache>
            </c:strRef>
          </c:tx>
          <c:spPr>
            <a:ln>
              <a:noFill/>
            </a:ln>
            <a:effectLst/>
          </c:spPr>
          <c:marker>
            <c:symbol val="none"/>
          </c:marker>
          <c:dLbls>
            <c:dLbl>
              <c:idx val="0"/>
              <c:tx>
                <c:rich>
                  <a:bodyPr/>
                  <a:lstStyle/>
                  <a:p>
                    <a:fld id="{04AB0E53-95FF-4691-8A09-87B28D5B8C82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2-2540-4308-B88C-E28AD2095E47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53F3D192-AF33-472F-89EE-C0AF0DD19DB4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3-2540-4308-B88C-E28AD2095E47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DD2EB3E1-DF55-458E-991B-AF979E1139B0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4-2540-4308-B88C-E28AD2095E47}"/>
                </c:ext>
              </c:extLst>
            </c:dLbl>
            <c:spPr>
              <a:noFill/>
              <a:ln>
                <a:noFill/>
              </a:ln>
              <a:effectLst/>
            </c:spPr>
            <c:dLblPos val="t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0"/>
              </c:ext>
            </c:extLst>
          </c:dLbls>
          <c:val>
            <c:numRef>
              <c:f>gasb2c_monthly!$H$5:$H$7</c:f>
              <c:numCache>
                <c:formatCode>#,##0_);\(#,##0\)</c:formatCode>
                <c:ptCount val="3"/>
                <c:pt idx="0">
                  <c:v>1484621.9691631305</c:v>
                </c:pt>
                <c:pt idx="1">
                  <c:v>2234099.6853750218</c:v>
                </c:pt>
                <c:pt idx="2">
                  <c:v>3728946.6136450367</c:v>
                </c:pt>
              </c:numCache>
            </c:numRef>
          </c:val>
          <c:smooth val="0"/>
          <c:extLst>
            <c:ext xmlns:c15="http://schemas.microsoft.com/office/drawing/2012/chart" uri="{02D57815-91ED-43cb-92C2-25804820EDAC}">
              <c15:datalabelsRange>
                <c15:f>gasb2c_monthly!$G$5:$G$7</c15:f>
                <c15:dlblRangeCache>
                  <c:ptCount val="3"/>
                  <c:pt idx="0">
                    <c:v>-0.18</c:v>
                  </c:pt>
                  <c:pt idx="1">
                    <c:v>-0.31</c:v>
                  </c:pt>
                  <c:pt idx="2">
                    <c:v>-0.76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5-2540-4308-B88C-E28AD2095E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99546240"/>
        <c:axId val="1099551232"/>
      </c:lineChart>
      <c:catAx>
        <c:axId val="1099546240"/>
        <c:scaling>
          <c:orientation val="minMax"/>
        </c:scaling>
        <c:delete val="0"/>
        <c:axPos val="b"/>
        <c:numFmt formatCode="m/d/yyyy" sourceLinked="0"/>
        <c:majorTickMark val="none"/>
        <c:minorTickMark val="out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99551232"/>
        <c:crosses val="autoZero"/>
        <c:auto val="0"/>
        <c:lblAlgn val="ctr"/>
        <c:lblOffset val="100"/>
        <c:tickLblSkip val="1"/>
        <c:tickMarkSkip val="1"/>
        <c:noMultiLvlLbl val="0"/>
      </c:catAx>
      <c:valAx>
        <c:axId val="10995512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99546240"/>
        <c:crosses val="autoZero"/>
        <c:crossBetween val="between"/>
        <c:majorUnit val="1000000"/>
        <c:dispUnits>
          <c:builtInUnit val="millions"/>
          <c:dispUnitsLbl>
            <c:tx>
              <c:rich>
                <a:bodyPr rot="-5400000" spcFirstLastPara="1" vertOverflow="ellipsis" vert="horz" wrap="square" anchor="ctr" anchorCtr="1"/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r>
                    <a:rPr lang="en-US"/>
                    <a:t>MEur</a:t>
                  </a:r>
                </a:p>
              </c:rich>
            </c:tx>
            <c:spPr>
              <a:noFill/>
              <a:ln>
                <a:noFill/>
              </a:ln>
              <a:effectLst/>
            </c:spPr>
          </c:dispUnitsLbl>
        </c:dispUnits>
      </c:valAx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/>
  </c:chart>
  <c:spPr>
    <a:ln>
      <a:noFill/>
    </a:ln>
  </c:spPr>
  <c:txPr>
    <a:bodyPr/>
    <a:lstStyle/>
    <a:p>
      <a:pPr>
        <a:defRPr/>
      </a:pPr>
      <a:endParaRPr lang="en-US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P2H: </a:t>
            </a:r>
            <a:r>
              <a:rPr lang="en-US" baseline="0"/>
              <a:t>prices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p2h_monthly!$I$1</c:f>
              <c:strCache>
                <c:ptCount val="1"/>
                <c:pt idx="0">
                  <c:v>Actual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2h_monthly!$A$5:$A$7</c:f>
              <c:strCache>
                <c:ptCount val="3"/>
                <c:pt idx="0">
                  <c:v>2021-M10</c:v>
                </c:pt>
                <c:pt idx="1">
                  <c:v>2021-M11</c:v>
                </c:pt>
                <c:pt idx="2">
                  <c:v>2021-M12</c:v>
                </c:pt>
              </c:strCache>
            </c:strRef>
          </c:cat>
          <c:val>
            <c:numRef>
              <c:f>p2h_monthly!$K$5:$K$7</c:f>
              <c:numCache>
                <c:formatCode>#,##0.00_);\(#,##0.00\)</c:formatCode>
                <c:ptCount val="3"/>
                <c:pt idx="0">
                  <c:v>38.442486054292701</c:v>
                </c:pt>
                <c:pt idx="1">
                  <c:v>58.250895709232701</c:v>
                </c:pt>
                <c:pt idx="2">
                  <c:v>59.9392487480226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B3F-4BEB-8C7D-EF7DE174CEEF}"/>
            </c:ext>
          </c:extLst>
        </c:ser>
        <c:ser>
          <c:idx val="2"/>
          <c:order val="1"/>
          <c:tx>
            <c:strRef>
              <c:f>p2h_monthly!$D$2</c:f>
              <c:strCache>
                <c:ptCount val="1"/>
                <c:pt idx="0">
                  <c:v>FSP2020</c:v>
                </c:pt>
              </c:strCache>
            </c:strRef>
          </c:tx>
          <c:spPr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p2h_monthly!$D$5:$D$7</c:f>
              <c:numCache>
                <c:formatCode>#,##0.00_);\(#,##0.00\)</c:formatCode>
                <c:ptCount val="3"/>
                <c:pt idx="0">
                  <c:v>42.18</c:v>
                </c:pt>
                <c:pt idx="1">
                  <c:v>43.26</c:v>
                </c:pt>
                <c:pt idx="2">
                  <c:v>40.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B3F-4BEB-8C7D-EF7DE174CE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099546240"/>
        <c:axId val="1099551232"/>
      </c:barChart>
      <c:catAx>
        <c:axId val="1099546240"/>
        <c:scaling>
          <c:orientation val="minMax"/>
        </c:scaling>
        <c:delete val="0"/>
        <c:axPos val="b"/>
        <c:numFmt formatCode="m/d/yyyy" sourceLinked="0"/>
        <c:majorTickMark val="none"/>
        <c:minorTickMark val="out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99551232"/>
        <c:crosses val="autoZero"/>
        <c:auto val="0"/>
        <c:lblAlgn val="ctr"/>
        <c:lblOffset val="100"/>
        <c:tickLblSkip val="1"/>
        <c:tickMarkSkip val="1"/>
        <c:noMultiLvlLbl val="0"/>
      </c:catAx>
      <c:valAx>
        <c:axId val="10995512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Eur/MWh</a:t>
                </a:r>
              </a:p>
            </c:rich>
          </c:tx>
          <c:layout>
            <c:manualLayout>
              <c:xMode val="edge"/>
              <c:yMode val="edge"/>
              <c:x val="2.3518518518518518E-2"/>
              <c:y val="0.15007327209098861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995462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P2H: </a:t>
            </a:r>
            <a:r>
              <a:rPr lang="en-US" baseline="0"/>
              <a:t>sourcing result</a:t>
            </a:r>
            <a:endParaRPr lang="en-US"/>
          </a:p>
        </c:rich>
      </c:tx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1"/>
          <c:order val="0"/>
          <c:tx>
            <c:strRef>
              <c:f>p2h_monthly!$L$8</c:f>
              <c:strCache>
                <c:ptCount val="1"/>
                <c:pt idx="0">
                  <c:v>Actual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</c:spPr>
          <c:invertIfNegative val="0"/>
          <c:cat>
            <c:strRef>
              <c:f>p2h_monthly!$A$5:$A$7</c:f>
              <c:strCache>
                <c:ptCount val="3"/>
                <c:pt idx="0">
                  <c:v>2021-M10</c:v>
                </c:pt>
                <c:pt idx="1">
                  <c:v>2021-M11</c:v>
                </c:pt>
                <c:pt idx="2">
                  <c:v>2021-M12</c:v>
                </c:pt>
              </c:strCache>
            </c:strRef>
          </c:cat>
          <c:val>
            <c:numRef>
              <c:f>p2h_monthly!$L$5:$L$7</c:f>
              <c:numCache>
                <c:formatCode>#,##0_);\(#,##0\)</c:formatCode>
                <c:ptCount val="3"/>
                <c:pt idx="0">
                  <c:v>5369085.08605038</c:v>
                </c:pt>
                <c:pt idx="1">
                  <c:v>11750531.119995899</c:v>
                </c:pt>
                <c:pt idx="2">
                  <c:v>14587851.99985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40B-4613-870F-4490857CD797}"/>
            </c:ext>
          </c:extLst>
        </c:ser>
        <c:ser>
          <c:idx val="3"/>
          <c:order val="1"/>
          <c:tx>
            <c:strRef>
              <c:f>p2h_monthly!$F$8</c:f>
              <c:strCache>
                <c:ptCount val="1"/>
                <c:pt idx="0">
                  <c:v>FSP2020</c:v>
                </c:pt>
              </c:strCache>
            </c:strRef>
          </c:tx>
          <c:spPr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</c:spPr>
          <c:invertIfNegative val="0"/>
          <c:val>
            <c:numRef>
              <c:f>p2h_monthly!$F$5:$F$7</c:f>
              <c:numCache>
                <c:formatCode>#,##0_);\(#,##0\)</c:formatCode>
                <c:ptCount val="3"/>
                <c:pt idx="0">
                  <c:v>5891086.4560049577</c:v>
                </c:pt>
                <c:pt idx="1">
                  <c:v>8726526.3488549571</c:v>
                </c:pt>
                <c:pt idx="2">
                  <c:v>9859214.0685374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40B-4613-870F-4490857CD79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099546240"/>
        <c:axId val="1099551232"/>
      </c:barChart>
      <c:lineChart>
        <c:grouping val="standard"/>
        <c:varyColors val="0"/>
        <c:ser>
          <c:idx val="2"/>
          <c:order val="2"/>
          <c:tx>
            <c:strRef>
              <c:f>p2h_monthly!$G$8</c:f>
              <c:strCache>
                <c:ptCount val="1"/>
                <c:pt idx="0">
                  <c:v>(Values: Net result)</c:v>
                </c:pt>
              </c:strCache>
            </c:strRef>
          </c:tx>
          <c:spPr>
            <a:ln>
              <a:noFill/>
            </a:ln>
            <a:effectLst/>
          </c:spPr>
          <c:marker>
            <c:symbol val="none"/>
          </c:marker>
          <c:dLbls>
            <c:dLbl>
              <c:idx val="0"/>
              <c:tx>
                <c:rich>
                  <a:bodyPr/>
                  <a:lstStyle/>
                  <a:p>
                    <a:fld id="{8AD18ECB-4FE0-4D30-9A9B-711C8D1818BB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2-A40B-4613-870F-4490857CD797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608CB024-F86E-4AE8-A25F-641A81E076CA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3-A40B-4613-870F-4490857CD797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558A7148-B6A2-4412-B46E-56803475EC66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4-A40B-4613-870F-4490857CD797}"/>
                </c:ext>
              </c:extLst>
            </c:dLbl>
            <c:spPr>
              <a:noFill/>
              <a:ln>
                <a:noFill/>
              </a:ln>
              <a:effectLst/>
            </c:spPr>
            <c:dLblPos val="t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0"/>
              </c:ext>
            </c:extLst>
          </c:dLbls>
          <c:val>
            <c:numRef>
              <c:f>p2h_monthly!$H$5:$H$7</c:f>
              <c:numCache>
                <c:formatCode>#,##0_);\(#,##0\)</c:formatCode>
                <c:ptCount val="3"/>
                <c:pt idx="0">
                  <c:v>5891086.4560049577</c:v>
                </c:pt>
                <c:pt idx="1">
                  <c:v>11750531.119995899</c:v>
                </c:pt>
                <c:pt idx="2">
                  <c:v>14587851.9998537</c:v>
                </c:pt>
              </c:numCache>
            </c:numRef>
          </c:val>
          <c:smooth val="0"/>
          <c:extLst>
            <c:ext xmlns:c15="http://schemas.microsoft.com/office/drawing/2012/chart" uri="{02D57815-91ED-43cb-92C2-25804820EDAC}">
              <c15:datalabelsRange>
                <c15:f>p2h_monthly!$G$5:$G$7</c15:f>
                <c15:dlblRangeCache>
                  <c:ptCount val="3"/>
                  <c:pt idx="0">
                    <c:v>0.52</c:v>
                  </c:pt>
                  <c:pt idx="1">
                    <c:v>-3.02</c:v>
                  </c:pt>
                  <c:pt idx="2">
                    <c:v>-4.73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5-A40B-4613-870F-4490857CD79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99546240"/>
        <c:axId val="1099551232"/>
      </c:lineChart>
      <c:catAx>
        <c:axId val="1099546240"/>
        <c:scaling>
          <c:orientation val="minMax"/>
        </c:scaling>
        <c:delete val="0"/>
        <c:axPos val="b"/>
        <c:numFmt formatCode="m/d/yyyy" sourceLinked="0"/>
        <c:majorTickMark val="none"/>
        <c:minorTickMark val="out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99551232"/>
        <c:crosses val="autoZero"/>
        <c:auto val="0"/>
        <c:lblAlgn val="ctr"/>
        <c:lblOffset val="100"/>
        <c:tickLblSkip val="1"/>
        <c:tickMarkSkip val="1"/>
        <c:noMultiLvlLbl val="0"/>
      </c:catAx>
      <c:valAx>
        <c:axId val="10995512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99546240"/>
        <c:crosses val="autoZero"/>
        <c:crossBetween val="between"/>
        <c:dispUnits>
          <c:builtInUnit val="millions"/>
          <c:dispUnitsLbl>
            <c:tx>
              <c:rich>
                <a:bodyPr rot="-5400000" spcFirstLastPara="1" vertOverflow="ellipsis" vert="horz" wrap="square" anchor="ctr" anchorCtr="1"/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r>
                    <a:rPr lang="en-US"/>
                    <a:t>MEur</a:t>
                  </a:r>
                </a:p>
              </c:rich>
            </c:tx>
            <c:spPr>
              <a:noFill/>
              <a:ln>
                <a:noFill/>
              </a:ln>
              <a:effectLst/>
            </c:spPr>
          </c:dispUnitsLbl>
        </c:dispUnits>
      </c:valAx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/>
  </c:chart>
  <c:spPr>
    <a:ln>
      <a:noFill/>
    </a:ln>
  </c:spPr>
  <c:txPr>
    <a:bodyPr/>
    <a:lstStyle/>
    <a:p>
      <a:pPr>
        <a:defRPr/>
      </a:pPr>
      <a:endParaRPr lang="en-US"/>
    </a:p>
  </c:txPr>
  <c:externalData r:id="rId2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68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Temperatures in Nov and Dec 2021</a:t>
            </a:r>
          </a:p>
          <a:p>
            <a:pPr>
              <a:defRPr/>
            </a:pPr>
            <a:r>
              <a:rPr lang="en-US"/>
              <a:t>Norm vs Actual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8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Tabelle1!$C$1</c:f>
              <c:strCache>
                <c:ptCount val="1"/>
                <c:pt idx="0">
                  <c:v>Actual</c:v>
                </c:pt>
              </c:strCache>
            </c:strRef>
          </c:tx>
          <c:spPr>
            <a:ln w="28575" cap="rnd">
              <a:solidFill>
                <a:schemeClr val="accent6">
                  <a:lumMod val="75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Tabelle1!$B$33:$B$93</c:f>
              <c:numCache>
                <c:formatCode>m/d/yyyy</c:formatCode>
                <c:ptCount val="61"/>
                <c:pt idx="0">
                  <c:v>44501</c:v>
                </c:pt>
                <c:pt idx="1">
                  <c:v>44502</c:v>
                </c:pt>
                <c:pt idx="2">
                  <c:v>44503</c:v>
                </c:pt>
                <c:pt idx="3">
                  <c:v>44504</c:v>
                </c:pt>
                <c:pt idx="4">
                  <c:v>44505</c:v>
                </c:pt>
                <c:pt idx="5">
                  <c:v>44506</c:v>
                </c:pt>
                <c:pt idx="6">
                  <c:v>44507</c:v>
                </c:pt>
                <c:pt idx="7">
                  <c:v>44508</c:v>
                </c:pt>
                <c:pt idx="8">
                  <c:v>44509</c:v>
                </c:pt>
                <c:pt idx="9">
                  <c:v>44510</c:v>
                </c:pt>
                <c:pt idx="10">
                  <c:v>44511</c:v>
                </c:pt>
                <c:pt idx="11">
                  <c:v>44512</c:v>
                </c:pt>
                <c:pt idx="12">
                  <c:v>44513</c:v>
                </c:pt>
                <c:pt idx="13">
                  <c:v>44514</c:v>
                </c:pt>
                <c:pt idx="14">
                  <c:v>44515</c:v>
                </c:pt>
                <c:pt idx="15">
                  <c:v>44516</c:v>
                </c:pt>
                <c:pt idx="16">
                  <c:v>44517</c:v>
                </c:pt>
                <c:pt idx="17">
                  <c:v>44518</c:v>
                </c:pt>
                <c:pt idx="18">
                  <c:v>44519</c:v>
                </c:pt>
                <c:pt idx="19">
                  <c:v>44520</c:v>
                </c:pt>
                <c:pt idx="20">
                  <c:v>44521</c:v>
                </c:pt>
                <c:pt idx="21">
                  <c:v>44522</c:v>
                </c:pt>
                <c:pt idx="22">
                  <c:v>44523</c:v>
                </c:pt>
                <c:pt idx="23">
                  <c:v>44524</c:v>
                </c:pt>
                <c:pt idx="24">
                  <c:v>44525</c:v>
                </c:pt>
                <c:pt idx="25">
                  <c:v>44526</c:v>
                </c:pt>
                <c:pt idx="26">
                  <c:v>44527</c:v>
                </c:pt>
                <c:pt idx="27">
                  <c:v>44528</c:v>
                </c:pt>
                <c:pt idx="28">
                  <c:v>44529</c:v>
                </c:pt>
                <c:pt idx="29">
                  <c:v>44530</c:v>
                </c:pt>
                <c:pt idx="30">
                  <c:v>44531</c:v>
                </c:pt>
                <c:pt idx="31">
                  <c:v>44532</c:v>
                </c:pt>
                <c:pt idx="32">
                  <c:v>44533</c:v>
                </c:pt>
                <c:pt idx="33">
                  <c:v>44534</c:v>
                </c:pt>
                <c:pt idx="34">
                  <c:v>44535</c:v>
                </c:pt>
                <c:pt idx="35">
                  <c:v>44536</c:v>
                </c:pt>
                <c:pt idx="36">
                  <c:v>44537</c:v>
                </c:pt>
                <c:pt idx="37">
                  <c:v>44538</c:v>
                </c:pt>
                <c:pt idx="38">
                  <c:v>44539</c:v>
                </c:pt>
                <c:pt idx="39">
                  <c:v>44540</c:v>
                </c:pt>
                <c:pt idx="40">
                  <c:v>44541</c:v>
                </c:pt>
                <c:pt idx="41">
                  <c:v>44542</c:v>
                </c:pt>
                <c:pt idx="42">
                  <c:v>44543</c:v>
                </c:pt>
                <c:pt idx="43">
                  <c:v>44544</c:v>
                </c:pt>
                <c:pt idx="44">
                  <c:v>44545</c:v>
                </c:pt>
                <c:pt idx="45">
                  <c:v>44546</c:v>
                </c:pt>
                <c:pt idx="46">
                  <c:v>44547</c:v>
                </c:pt>
                <c:pt idx="47">
                  <c:v>44548</c:v>
                </c:pt>
                <c:pt idx="48">
                  <c:v>44549</c:v>
                </c:pt>
                <c:pt idx="49">
                  <c:v>44550</c:v>
                </c:pt>
                <c:pt idx="50">
                  <c:v>44551</c:v>
                </c:pt>
                <c:pt idx="51">
                  <c:v>44552</c:v>
                </c:pt>
                <c:pt idx="52">
                  <c:v>44553</c:v>
                </c:pt>
                <c:pt idx="53">
                  <c:v>44554</c:v>
                </c:pt>
                <c:pt idx="54">
                  <c:v>44555</c:v>
                </c:pt>
                <c:pt idx="55">
                  <c:v>44556</c:v>
                </c:pt>
                <c:pt idx="56">
                  <c:v>44557</c:v>
                </c:pt>
                <c:pt idx="57">
                  <c:v>44558</c:v>
                </c:pt>
                <c:pt idx="58">
                  <c:v>44559</c:v>
                </c:pt>
                <c:pt idx="59">
                  <c:v>44560</c:v>
                </c:pt>
                <c:pt idx="60">
                  <c:v>44561</c:v>
                </c:pt>
              </c:numCache>
            </c:numRef>
          </c:cat>
          <c:val>
            <c:numRef>
              <c:f>Tabelle1!$C$33:$C$93</c:f>
              <c:numCache>
                <c:formatCode>General</c:formatCode>
                <c:ptCount val="61"/>
                <c:pt idx="0">
                  <c:v>8.9</c:v>
                </c:pt>
                <c:pt idx="1">
                  <c:v>7.5</c:v>
                </c:pt>
                <c:pt idx="2">
                  <c:v>5.8</c:v>
                </c:pt>
                <c:pt idx="3">
                  <c:v>6.3</c:v>
                </c:pt>
                <c:pt idx="4">
                  <c:v>6.4</c:v>
                </c:pt>
                <c:pt idx="5">
                  <c:v>6.7</c:v>
                </c:pt>
                <c:pt idx="6">
                  <c:v>7.3</c:v>
                </c:pt>
                <c:pt idx="7">
                  <c:v>6.5</c:v>
                </c:pt>
                <c:pt idx="8">
                  <c:v>5</c:v>
                </c:pt>
                <c:pt idx="9">
                  <c:v>3.5</c:v>
                </c:pt>
                <c:pt idx="10">
                  <c:v>4.0999999999999996</c:v>
                </c:pt>
                <c:pt idx="11">
                  <c:v>4.8</c:v>
                </c:pt>
                <c:pt idx="12">
                  <c:v>5.4</c:v>
                </c:pt>
                <c:pt idx="13">
                  <c:v>6.8</c:v>
                </c:pt>
                <c:pt idx="14">
                  <c:v>5.4</c:v>
                </c:pt>
                <c:pt idx="15">
                  <c:v>4.5999999999999996</c:v>
                </c:pt>
                <c:pt idx="16">
                  <c:v>5.0999999999999996</c:v>
                </c:pt>
                <c:pt idx="17">
                  <c:v>6.5</c:v>
                </c:pt>
                <c:pt idx="18">
                  <c:v>7.5</c:v>
                </c:pt>
                <c:pt idx="19">
                  <c:v>7.9</c:v>
                </c:pt>
                <c:pt idx="20">
                  <c:v>4.9000000000000004</c:v>
                </c:pt>
                <c:pt idx="21">
                  <c:v>3.5</c:v>
                </c:pt>
                <c:pt idx="22">
                  <c:v>3.2</c:v>
                </c:pt>
                <c:pt idx="23">
                  <c:v>3.1</c:v>
                </c:pt>
                <c:pt idx="24">
                  <c:v>2.1</c:v>
                </c:pt>
                <c:pt idx="25">
                  <c:v>1.8</c:v>
                </c:pt>
                <c:pt idx="26">
                  <c:v>2</c:v>
                </c:pt>
                <c:pt idx="27">
                  <c:v>1.1000000000000001</c:v>
                </c:pt>
                <c:pt idx="28">
                  <c:v>0.6</c:v>
                </c:pt>
                <c:pt idx="29">
                  <c:v>3</c:v>
                </c:pt>
                <c:pt idx="30" formatCode="#,##0.0">
                  <c:v>6.3689999999999998</c:v>
                </c:pt>
                <c:pt idx="31" formatCode="#,##0.0">
                  <c:v>2.0649999999999999</c:v>
                </c:pt>
                <c:pt idx="32" formatCode="#,##0.0">
                  <c:v>0.6</c:v>
                </c:pt>
                <c:pt idx="33" formatCode="#,##0.0">
                  <c:v>2.92</c:v>
                </c:pt>
                <c:pt idx="34" formatCode="#,##0.0">
                  <c:v>2.169</c:v>
                </c:pt>
                <c:pt idx="35" formatCode="#,##0.0">
                  <c:v>0.85799999999999998</c:v>
                </c:pt>
                <c:pt idx="36" formatCode="#,##0.0">
                  <c:v>0.80100000000000005</c:v>
                </c:pt>
                <c:pt idx="37" formatCode="#,##0.0">
                  <c:v>0.75</c:v>
                </c:pt>
                <c:pt idx="38" formatCode="#,##0.0">
                  <c:v>0.878</c:v>
                </c:pt>
                <c:pt idx="39" formatCode="#,##0.0">
                  <c:v>0.47499999999999998</c:v>
                </c:pt>
                <c:pt idx="40" formatCode="#,##0.0">
                  <c:v>0.96499999999999997</c:v>
                </c:pt>
                <c:pt idx="41" formatCode="#,##0.0">
                  <c:v>3.2120000000000002</c:v>
                </c:pt>
                <c:pt idx="42" formatCode="#,##0.0">
                  <c:v>6.2329999999999997</c:v>
                </c:pt>
                <c:pt idx="43" formatCode="#,##0.0">
                  <c:v>5.319</c:v>
                </c:pt>
                <c:pt idx="44" formatCode="#,##0.0">
                  <c:v>6.3170000000000002</c:v>
                </c:pt>
                <c:pt idx="45" formatCode="#,##0.0">
                  <c:v>5.681</c:v>
                </c:pt>
                <c:pt idx="46" formatCode="#,##0.0">
                  <c:v>4.5179999999999998</c:v>
                </c:pt>
                <c:pt idx="47" formatCode="#,##0.0">
                  <c:v>3.7949999999999999</c:v>
                </c:pt>
                <c:pt idx="48" formatCode="#,##0.0">
                  <c:v>3.1379999999999999</c:v>
                </c:pt>
                <c:pt idx="49" formatCode="#,##0.0">
                  <c:v>0.53500000000000003</c:v>
                </c:pt>
                <c:pt idx="50" formatCode="#,##0.0">
                  <c:v>-3.093</c:v>
                </c:pt>
                <c:pt idx="51" formatCode="#,##0.0">
                  <c:v>-4.0640000000000001</c:v>
                </c:pt>
                <c:pt idx="52" formatCode="#,##0.0">
                  <c:v>-1.2969999999999999</c:v>
                </c:pt>
                <c:pt idx="53" formatCode="#,##0.0">
                  <c:v>4.391</c:v>
                </c:pt>
                <c:pt idx="54" formatCode="#,##0.0">
                  <c:v>-0.48799999999999999</c:v>
                </c:pt>
                <c:pt idx="55" formatCode="#,##0.0">
                  <c:v>-2.8220000000000001</c:v>
                </c:pt>
                <c:pt idx="56" formatCode="#,##0.0">
                  <c:v>4.2000000000000003E-2</c:v>
                </c:pt>
                <c:pt idx="57" formatCode="#,##0.0">
                  <c:v>3.4239999999999999</c:v>
                </c:pt>
                <c:pt idx="58" formatCode="#,##0.0">
                  <c:v>5.8819999999999997</c:v>
                </c:pt>
                <c:pt idx="59" formatCode="#,##0.0">
                  <c:v>10.874000000000001</c:v>
                </c:pt>
                <c:pt idx="60" formatCode="#,##0.0">
                  <c:v>11.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D39-4E38-A2FF-7FCC49AEA01F}"/>
            </c:ext>
          </c:extLst>
        </c:ser>
        <c:ser>
          <c:idx val="2"/>
          <c:order val="1"/>
          <c:tx>
            <c:strRef>
              <c:f>Tabelle1!$E$1</c:f>
              <c:strCache>
                <c:ptCount val="1"/>
                <c:pt idx="0">
                  <c:v>Actual (avg)</c:v>
                </c:pt>
              </c:strCache>
            </c:strRef>
          </c:tx>
          <c:spPr>
            <a:ln w="28575" cap="rnd">
              <a:solidFill>
                <a:schemeClr val="accent6">
                  <a:lumMod val="75000"/>
                </a:schemeClr>
              </a:solidFill>
              <a:prstDash val="dash"/>
              <a:round/>
            </a:ln>
            <a:effectLst/>
          </c:spPr>
          <c:marker>
            <c:symbol val="none"/>
          </c:marker>
          <c:cat>
            <c:numRef>
              <c:f>Tabelle1!$B$33:$B$93</c:f>
              <c:numCache>
                <c:formatCode>m/d/yyyy</c:formatCode>
                <c:ptCount val="61"/>
                <c:pt idx="0">
                  <c:v>44501</c:v>
                </c:pt>
                <c:pt idx="1">
                  <c:v>44502</c:v>
                </c:pt>
                <c:pt idx="2">
                  <c:v>44503</c:v>
                </c:pt>
                <c:pt idx="3">
                  <c:v>44504</c:v>
                </c:pt>
                <c:pt idx="4">
                  <c:v>44505</c:v>
                </c:pt>
                <c:pt idx="5">
                  <c:v>44506</c:v>
                </c:pt>
                <c:pt idx="6">
                  <c:v>44507</c:v>
                </c:pt>
                <c:pt idx="7">
                  <c:v>44508</c:v>
                </c:pt>
                <c:pt idx="8">
                  <c:v>44509</c:v>
                </c:pt>
                <c:pt idx="9">
                  <c:v>44510</c:v>
                </c:pt>
                <c:pt idx="10">
                  <c:v>44511</c:v>
                </c:pt>
                <c:pt idx="11">
                  <c:v>44512</c:v>
                </c:pt>
                <c:pt idx="12">
                  <c:v>44513</c:v>
                </c:pt>
                <c:pt idx="13">
                  <c:v>44514</c:v>
                </c:pt>
                <c:pt idx="14">
                  <c:v>44515</c:v>
                </c:pt>
                <c:pt idx="15">
                  <c:v>44516</c:v>
                </c:pt>
                <c:pt idx="16">
                  <c:v>44517</c:v>
                </c:pt>
                <c:pt idx="17">
                  <c:v>44518</c:v>
                </c:pt>
                <c:pt idx="18">
                  <c:v>44519</c:v>
                </c:pt>
                <c:pt idx="19">
                  <c:v>44520</c:v>
                </c:pt>
                <c:pt idx="20">
                  <c:v>44521</c:v>
                </c:pt>
                <c:pt idx="21">
                  <c:v>44522</c:v>
                </c:pt>
                <c:pt idx="22">
                  <c:v>44523</c:v>
                </c:pt>
                <c:pt idx="23">
                  <c:v>44524</c:v>
                </c:pt>
                <c:pt idx="24">
                  <c:v>44525</c:v>
                </c:pt>
                <c:pt idx="25">
                  <c:v>44526</c:v>
                </c:pt>
                <c:pt idx="26">
                  <c:v>44527</c:v>
                </c:pt>
                <c:pt idx="27">
                  <c:v>44528</c:v>
                </c:pt>
                <c:pt idx="28">
                  <c:v>44529</c:v>
                </c:pt>
                <c:pt idx="29">
                  <c:v>44530</c:v>
                </c:pt>
                <c:pt idx="30">
                  <c:v>44531</c:v>
                </c:pt>
                <c:pt idx="31">
                  <c:v>44532</c:v>
                </c:pt>
                <c:pt idx="32">
                  <c:v>44533</c:v>
                </c:pt>
                <c:pt idx="33">
                  <c:v>44534</c:v>
                </c:pt>
                <c:pt idx="34">
                  <c:v>44535</c:v>
                </c:pt>
                <c:pt idx="35">
                  <c:v>44536</c:v>
                </c:pt>
                <c:pt idx="36">
                  <c:v>44537</c:v>
                </c:pt>
                <c:pt idx="37">
                  <c:v>44538</c:v>
                </c:pt>
                <c:pt idx="38">
                  <c:v>44539</c:v>
                </c:pt>
                <c:pt idx="39">
                  <c:v>44540</c:v>
                </c:pt>
                <c:pt idx="40">
                  <c:v>44541</c:v>
                </c:pt>
                <c:pt idx="41">
                  <c:v>44542</c:v>
                </c:pt>
                <c:pt idx="42">
                  <c:v>44543</c:v>
                </c:pt>
                <c:pt idx="43">
                  <c:v>44544</c:v>
                </c:pt>
                <c:pt idx="44">
                  <c:v>44545</c:v>
                </c:pt>
                <c:pt idx="45">
                  <c:v>44546</c:v>
                </c:pt>
                <c:pt idx="46">
                  <c:v>44547</c:v>
                </c:pt>
                <c:pt idx="47">
                  <c:v>44548</c:v>
                </c:pt>
                <c:pt idx="48">
                  <c:v>44549</c:v>
                </c:pt>
                <c:pt idx="49">
                  <c:v>44550</c:v>
                </c:pt>
                <c:pt idx="50">
                  <c:v>44551</c:v>
                </c:pt>
                <c:pt idx="51">
                  <c:v>44552</c:v>
                </c:pt>
                <c:pt idx="52">
                  <c:v>44553</c:v>
                </c:pt>
                <c:pt idx="53">
                  <c:v>44554</c:v>
                </c:pt>
                <c:pt idx="54">
                  <c:v>44555</c:v>
                </c:pt>
                <c:pt idx="55">
                  <c:v>44556</c:v>
                </c:pt>
                <c:pt idx="56">
                  <c:v>44557</c:v>
                </c:pt>
                <c:pt idx="57">
                  <c:v>44558</c:v>
                </c:pt>
                <c:pt idx="58">
                  <c:v>44559</c:v>
                </c:pt>
                <c:pt idx="59">
                  <c:v>44560</c:v>
                </c:pt>
                <c:pt idx="60">
                  <c:v>44561</c:v>
                </c:pt>
              </c:numCache>
            </c:numRef>
          </c:cat>
          <c:val>
            <c:numRef>
              <c:f>Tabelle1!$E$33:$E$93</c:f>
              <c:numCache>
                <c:formatCode>#,##0.0</c:formatCode>
                <c:ptCount val="61"/>
                <c:pt idx="0" formatCode="General">
                  <c:v>4.9099999999999993</c:v>
                </c:pt>
                <c:pt idx="1">
                  <c:v>4.9099999999999993</c:v>
                </c:pt>
                <c:pt idx="2">
                  <c:v>4.9099999999999993</c:v>
                </c:pt>
                <c:pt idx="3">
                  <c:v>4.9099999999999993</c:v>
                </c:pt>
                <c:pt idx="4">
                  <c:v>4.9099999999999993</c:v>
                </c:pt>
                <c:pt idx="5">
                  <c:v>4.9099999999999993</c:v>
                </c:pt>
                <c:pt idx="6">
                  <c:v>4.9099999999999993</c:v>
                </c:pt>
                <c:pt idx="7">
                  <c:v>4.9099999999999993</c:v>
                </c:pt>
                <c:pt idx="8">
                  <c:v>4.9099999999999993</c:v>
                </c:pt>
                <c:pt idx="9">
                  <c:v>4.9099999999999993</c:v>
                </c:pt>
                <c:pt idx="10">
                  <c:v>4.9099999999999993</c:v>
                </c:pt>
                <c:pt idx="11">
                  <c:v>4.9099999999999993</c:v>
                </c:pt>
                <c:pt idx="12">
                  <c:v>4.9099999999999993</c:v>
                </c:pt>
                <c:pt idx="13">
                  <c:v>4.9099999999999993</c:v>
                </c:pt>
                <c:pt idx="14">
                  <c:v>4.9099999999999993</c:v>
                </c:pt>
                <c:pt idx="15">
                  <c:v>4.9099999999999993</c:v>
                </c:pt>
                <c:pt idx="16">
                  <c:v>4.9099999999999993</c:v>
                </c:pt>
                <c:pt idx="17">
                  <c:v>4.9099999999999993</c:v>
                </c:pt>
                <c:pt idx="18">
                  <c:v>4.9099999999999993</c:v>
                </c:pt>
                <c:pt idx="19">
                  <c:v>4.9099999999999993</c:v>
                </c:pt>
                <c:pt idx="20">
                  <c:v>4.9099999999999993</c:v>
                </c:pt>
                <c:pt idx="21">
                  <c:v>4.9099999999999993</c:v>
                </c:pt>
                <c:pt idx="22">
                  <c:v>4.9099999999999993</c:v>
                </c:pt>
                <c:pt idx="23">
                  <c:v>4.9099999999999993</c:v>
                </c:pt>
                <c:pt idx="24">
                  <c:v>4.9099999999999993</c:v>
                </c:pt>
                <c:pt idx="25">
                  <c:v>4.9099999999999993</c:v>
                </c:pt>
                <c:pt idx="26">
                  <c:v>4.9099999999999993</c:v>
                </c:pt>
                <c:pt idx="27">
                  <c:v>4.9099999999999993</c:v>
                </c:pt>
                <c:pt idx="28">
                  <c:v>4.9099999999999993</c:v>
                </c:pt>
                <c:pt idx="29">
                  <c:v>4.9099999999999993</c:v>
                </c:pt>
                <c:pt idx="30">
                  <c:v>2.6482903225806451</c:v>
                </c:pt>
                <c:pt idx="31">
                  <c:v>2.6482903225806451</c:v>
                </c:pt>
                <c:pt idx="32">
                  <c:v>2.6482903225806451</c:v>
                </c:pt>
                <c:pt idx="33">
                  <c:v>2.6482903225806451</c:v>
                </c:pt>
                <c:pt idx="34">
                  <c:v>2.6482903225806451</c:v>
                </c:pt>
                <c:pt idx="35">
                  <c:v>2.6482903225806451</c:v>
                </c:pt>
                <c:pt idx="36">
                  <c:v>2.6482903225806451</c:v>
                </c:pt>
                <c:pt idx="37">
                  <c:v>2.6482903225806451</c:v>
                </c:pt>
                <c:pt idx="38">
                  <c:v>2.6482903225806451</c:v>
                </c:pt>
                <c:pt idx="39">
                  <c:v>2.6482903225806451</c:v>
                </c:pt>
                <c:pt idx="40">
                  <c:v>2.6482903225806451</c:v>
                </c:pt>
                <c:pt idx="41">
                  <c:v>2.6482903225806451</c:v>
                </c:pt>
                <c:pt idx="42">
                  <c:v>2.6482903225806451</c:v>
                </c:pt>
                <c:pt idx="43">
                  <c:v>2.6482903225806451</c:v>
                </c:pt>
                <c:pt idx="44">
                  <c:v>2.6482903225806451</c:v>
                </c:pt>
                <c:pt idx="45">
                  <c:v>2.6482903225806451</c:v>
                </c:pt>
                <c:pt idx="46">
                  <c:v>2.6482903225806451</c:v>
                </c:pt>
                <c:pt idx="47">
                  <c:v>2.6482903225806451</c:v>
                </c:pt>
                <c:pt idx="48">
                  <c:v>2.6482903225806451</c:v>
                </c:pt>
                <c:pt idx="49">
                  <c:v>2.6482903225806451</c:v>
                </c:pt>
                <c:pt idx="50">
                  <c:v>2.6482903225806451</c:v>
                </c:pt>
                <c:pt idx="51">
                  <c:v>2.6482903225806451</c:v>
                </c:pt>
                <c:pt idx="52">
                  <c:v>2.6482903225806451</c:v>
                </c:pt>
                <c:pt idx="53">
                  <c:v>2.6482903225806451</c:v>
                </c:pt>
                <c:pt idx="54">
                  <c:v>2.6482903225806451</c:v>
                </c:pt>
                <c:pt idx="55">
                  <c:v>2.6482903225806451</c:v>
                </c:pt>
                <c:pt idx="56">
                  <c:v>2.6482903225806451</c:v>
                </c:pt>
                <c:pt idx="57">
                  <c:v>2.6482903225806451</c:v>
                </c:pt>
                <c:pt idx="58">
                  <c:v>2.6482903225806451</c:v>
                </c:pt>
                <c:pt idx="59">
                  <c:v>2.6482903225806451</c:v>
                </c:pt>
                <c:pt idx="60">
                  <c:v>2.64829032258064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D39-4E38-A2FF-7FCC49AEA01F}"/>
            </c:ext>
          </c:extLst>
        </c:ser>
        <c:ser>
          <c:idx val="3"/>
          <c:order val="2"/>
          <c:tx>
            <c:strRef>
              <c:f>Tabelle1!$F$1</c:f>
              <c:strCache>
                <c:ptCount val="1"/>
                <c:pt idx="0">
                  <c:v>Norm (avg)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numRef>
              <c:f>Tabelle1!$B$33:$B$93</c:f>
              <c:numCache>
                <c:formatCode>m/d/yyyy</c:formatCode>
                <c:ptCount val="61"/>
                <c:pt idx="0">
                  <c:v>44501</c:v>
                </c:pt>
                <c:pt idx="1">
                  <c:v>44502</c:v>
                </c:pt>
                <c:pt idx="2">
                  <c:v>44503</c:v>
                </c:pt>
                <c:pt idx="3">
                  <c:v>44504</c:v>
                </c:pt>
                <c:pt idx="4">
                  <c:v>44505</c:v>
                </c:pt>
                <c:pt idx="5">
                  <c:v>44506</c:v>
                </c:pt>
                <c:pt idx="6">
                  <c:v>44507</c:v>
                </c:pt>
                <c:pt idx="7">
                  <c:v>44508</c:v>
                </c:pt>
                <c:pt idx="8">
                  <c:v>44509</c:v>
                </c:pt>
                <c:pt idx="9">
                  <c:v>44510</c:v>
                </c:pt>
                <c:pt idx="10">
                  <c:v>44511</c:v>
                </c:pt>
                <c:pt idx="11">
                  <c:v>44512</c:v>
                </c:pt>
                <c:pt idx="12">
                  <c:v>44513</c:v>
                </c:pt>
                <c:pt idx="13">
                  <c:v>44514</c:v>
                </c:pt>
                <c:pt idx="14">
                  <c:v>44515</c:v>
                </c:pt>
                <c:pt idx="15">
                  <c:v>44516</c:v>
                </c:pt>
                <c:pt idx="16">
                  <c:v>44517</c:v>
                </c:pt>
                <c:pt idx="17">
                  <c:v>44518</c:v>
                </c:pt>
                <c:pt idx="18">
                  <c:v>44519</c:v>
                </c:pt>
                <c:pt idx="19">
                  <c:v>44520</c:v>
                </c:pt>
                <c:pt idx="20">
                  <c:v>44521</c:v>
                </c:pt>
                <c:pt idx="21">
                  <c:v>44522</c:v>
                </c:pt>
                <c:pt idx="22">
                  <c:v>44523</c:v>
                </c:pt>
                <c:pt idx="23">
                  <c:v>44524</c:v>
                </c:pt>
                <c:pt idx="24">
                  <c:v>44525</c:v>
                </c:pt>
                <c:pt idx="25">
                  <c:v>44526</c:v>
                </c:pt>
                <c:pt idx="26">
                  <c:v>44527</c:v>
                </c:pt>
                <c:pt idx="27">
                  <c:v>44528</c:v>
                </c:pt>
                <c:pt idx="28">
                  <c:v>44529</c:v>
                </c:pt>
                <c:pt idx="29">
                  <c:v>44530</c:v>
                </c:pt>
                <c:pt idx="30">
                  <c:v>44531</c:v>
                </c:pt>
                <c:pt idx="31">
                  <c:v>44532</c:v>
                </c:pt>
                <c:pt idx="32">
                  <c:v>44533</c:v>
                </c:pt>
                <c:pt idx="33">
                  <c:v>44534</c:v>
                </c:pt>
                <c:pt idx="34">
                  <c:v>44535</c:v>
                </c:pt>
                <c:pt idx="35">
                  <c:v>44536</c:v>
                </c:pt>
                <c:pt idx="36">
                  <c:v>44537</c:v>
                </c:pt>
                <c:pt idx="37">
                  <c:v>44538</c:v>
                </c:pt>
                <c:pt idx="38">
                  <c:v>44539</c:v>
                </c:pt>
                <c:pt idx="39">
                  <c:v>44540</c:v>
                </c:pt>
                <c:pt idx="40">
                  <c:v>44541</c:v>
                </c:pt>
                <c:pt idx="41">
                  <c:v>44542</c:v>
                </c:pt>
                <c:pt idx="42">
                  <c:v>44543</c:v>
                </c:pt>
                <c:pt idx="43">
                  <c:v>44544</c:v>
                </c:pt>
                <c:pt idx="44">
                  <c:v>44545</c:v>
                </c:pt>
                <c:pt idx="45">
                  <c:v>44546</c:v>
                </c:pt>
                <c:pt idx="46">
                  <c:v>44547</c:v>
                </c:pt>
                <c:pt idx="47">
                  <c:v>44548</c:v>
                </c:pt>
                <c:pt idx="48">
                  <c:v>44549</c:v>
                </c:pt>
                <c:pt idx="49">
                  <c:v>44550</c:v>
                </c:pt>
                <c:pt idx="50">
                  <c:v>44551</c:v>
                </c:pt>
                <c:pt idx="51">
                  <c:v>44552</c:v>
                </c:pt>
                <c:pt idx="52">
                  <c:v>44553</c:v>
                </c:pt>
                <c:pt idx="53">
                  <c:v>44554</c:v>
                </c:pt>
                <c:pt idx="54">
                  <c:v>44555</c:v>
                </c:pt>
                <c:pt idx="55">
                  <c:v>44556</c:v>
                </c:pt>
                <c:pt idx="56">
                  <c:v>44557</c:v>
                </c:pt>
                <c:pt idx="57">
                  <c:v>44558</c:v>
                </c:pt>
                <c:pt idx="58">
                  <c:v>44559</c:v>
                </c:pt>
                <c:pt idx="59">
                  <c:v>44560</c:v>
                </c:pt>
                <c:pt idx="60">
                  <c:v>44561</c:v>
                </c:pt>
              </c:numCache>
            </c:numRef>
          </c:cat>
          <c:val>
            <c:numRef>
              <c:f>Tabelle1!$F$33:$F$93</c:f>
              <c:numCache>
                <c:formatCode>#,##0.0</c:formatCode>
                <c:ptCount val="61"/>
                <c:pt idx="0" formatCode="General">
                  <c:v>5.3500000000000005</c:v>
                </c:pt>
                <c:pt idx="1">
                  <c:v>5.3500000000000005</c:v>
                </c:pt>
                <c:pt idx="2">
                  <c:v>5.3500000000000005</c:v>
                </c:pt>
                <c:pt idx="3">
                  <c:v>5.3500000000000005</c:v>
                </c:pt>
                <c:pt idx="4">
                  <c:v>5.3500000000000005</c:v>
                </c:pt>
                <c:pt idx="5">
                  <c:v>5.3500000000000005</c:v>
                </c:pt>
                <c:pt idx="6">
                  <c:v>5.3500000000000005</c:v>
                </c:pt>
                <c:pt idx="7">
                  <c:v>5.3500000000000005</c:v>
                </c:pt>
                <c:pt idx="8">
                  <c:v>5.3500000000000005</c:v>
                </c:pt>
                <c:pt idx="9">
                  <c:v>5.3500000000000005</c:v>
                </c:pt>
                <c:pt idx="10">
                  <c:v>5.3500000000000005</c:v>
                </c:pt>
                <c:pt idx="11">
                  <c:v>5.3500000000000005</c:v>
                </c:pt>
                <c:pt idx="12">
                  <c:v>5.3500000000000005</c:v>
                </c:pt>
                <c:pt idx="13">
                  <c:v>5.3500000000000005</c:v>
                </c:pt>
                <c:pt idx="14">
                  <c:v>5.3500000000000005</c:v>
                </c:pt>
                <c:pt idx="15">
                  <c:v>5.3500000000000005</c:v>
                </c:pt>
                <c:pt idx="16">
                  <c:v>5.3500000000000005</c:v>
                </c:pt>
                <c:pt idx="17">
                  <c:v>5.3500000000000005</c:v>
                </c:pt>
                <c:pt idx="18">
                  <c:v>5.3500000000000005</c:v>
                </c:pt>
                <c:pt idx="19">
                  <c:v>5.3500000000000005</c:v>
                </c:pt>
                <c:pt idx="20">
                  <c:v>5.3500000000000005</c:v>
                </c:pt>
                <c:pt idx="21">
                  <c:v>5.3500000000000005</c:v>
                </c:pt>
                <c:pt idx="22">
                  <c:v>5.3500000000000005</c:v>
                </c:pt>
                <c:pt idx="23">
                  <c:v>5.3500000000000005</c:v>
                </c:pt>
                <c:pt idx="24">
                  <c:v>5.3500000000000005</c:v>
                </c:pt>
                <c:pt idx="25">
                  <c:v>5.3500000000000005</c:v>
                </c:pt>
                <c:pt idx="26">
                  <c:v>5.3500000000000005</c:v>
                </c:pt>
                <c:pt idx="27">
                  <c:v>5.3500000000000005</c:v>
                </c:pt>
                <c:pt idx="28">
                  <c:v>5.3500000000000005</c:v>
                </c:pt>
                <c:pt idx="29">
                  <c:v>5.3500000000000005</c:v>
                </c:pt>
                <c:pt idx="30">
                  <c:v>2.5088322580645155</c:v>
                </c:pt>
                <c:pt idx="31">
                  <c:v>2.5088322580645155</c:v>
                </c:pt>
                <c:pt idx="32">
                  <c:v>2.5088322580645155</c:v>
                </c:pt>
                <c:pt idx="33">
                  <c:v>2.5088322580645155</c:v>
                </c:pt>
                <c:pt idx="34">
                  <c:v>2.5088322580645155</c:v>
                </c:pt>
                <c:pt idx="35">
                  <c:v>2.5088322580645155</c:v>
                </c:pt>
                <c:pt idx="36">
                  <c:v>2.5088322580645155</c:v>
                </c:pt>
                <c:pt idx="37">
                  <c:v>2.5088322580645155</c:v>
                </c:pt>
                <c:pt idx="38">
                  <c:v>2.5088322580645155</c:v>
                </c:pt>
                <c:pt idx="39">
                  <c:v>2.5088322580645155</c:v>
                </c:pt>
                <c:pt idx="40">
                  <c:v>2.5088322580645155</c:v>
                </c:pt>
                <c:pt idx="41">
                  <c:v>2.5088322580645155</c:v>
                </c:pt>
                <c:pt idx="42">
                  <c:v>2.5088322580645155</c:v>
                </c:pt>
                <c:pt idx="43">
                  <c:v>2.5088322580645155</c:v>
                </c:pt>
                <c:pt idx="44">
                  <c:v>2.5088322580645155</c:v>
                </c:pt>
                <c:pt idx="45">
                  <c:v>2.5088322580645155</c:v>
                </c:pt>
                <c:pt idx="46">
                  <c:v>2.5088322580645155</c:v>
                </c:pt>
                <c:pt idx="47">
                  <c:v>2.5088322580645155</c:v>
                </c:pt>
                <c:pt idx="48">
                  <c:v>2.5088322580645155</c:v>
                </c:pt>
                <c:pt idx="49">
                  <c:v>2.5088322580645155</c:v>
                </c:pt>
                <c:pt idx="50">
                  <c:v>2.5088322580645155</c:v>
                </c:pt>
                <c:pt idx="51">
                  <c:v>2.5088322580645155</c:v>
                </c:pt>
                <c:pt idx="52">
                  <c:v>2.5088322580645155</c:v>
                </c:pt>
                <c:pt idx="53">
                  <c:v>2.5088322580645155</c:v>
                </c:pt>
                <c:pt idx="54">
                  <c:v>2.5088322580645155</c:v>
                </c:pt>
                <c:pt idx="55">
                  <c:v>2.5088322580645155</c:v>
                </c:pt>
                <c:pt idx="56">
                  <c:v>2.5088322580645155</c:v>
                </c:pt>
                <c:pt idx="57">
                  <c:v>2.5088322580645155</c:v>
                </c:pt>
                <c:pt idx="58">
                  <c:v>2.5088322580645155</c:v>
                </c:pt>
                <c:pt idx="59">
                  <c:v>2.5088322580645155</c:v>
                </c:pt>
                <c:pt idx="60">
                  <c:v>2.50883225806451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D39-4E38-A2FF-7FCC49AEA01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983369200"/>
        <c:axId val="983369616"/>
      </c:lineChart>
      <c:dateAx>
        <c:axId val="983369200"/>
        <c:scaling>
          <c:orientation val="minMax"/>
        </c:scaling>
        <c:delete val="0"/>
        <c:axPos val="b"/>
        <c:numFmt formatCode="m/d/yyyy" sourceLinked="1"/>
        <c:majorTickMark val="cross"/>
        <c:minorTickMark val="cross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83369616"/>
        <c:crosses val="autoZero"/>
        <c:auto val="1"/>
        <c:lblOffset val="100"/>
        <c:baseTimeUnit val="days"/>
        <c:majorUnit val="1"/>
        <c:majorTimeUnit val="months"/>
        <c:minorUnit val="1"/>
        <c:minorTimeUnit val="days"/>
      </c:dateAx>
      <c:valAx>
        <c:axId val="983369616"/>
        <c:scaling>
          <c:orientation val="minMax"/>
          <c:max val="12"/>
          <c:min val="-4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degC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8336920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400"/>
      </a:pPr>
      <a:endParaRPr lang="en-U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D31D9BB-3D3F-4574-8E95-6559BB925E8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472479" y="9529482"/>
            <a:ext cx="5246033" cy="1384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1200"/>
            </a:lvl1pPr>
          </a:lstStyle>
          <a:p>
            <a:endParaRPr lang="de-DE" sz="900">
              <a:solidFill>
                <a:schemeClr val="tx2"/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7C9357A-6AAD-4A3A-BA8B-B3CB6BCDCF3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875211" y="9529482"/>
            <a:ext cx="433606" cy="1384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200"/>
            </a:lvl1pPr>
          </a:lstStyle>
          <a:p>
            <a:fld id="{155B21DF-03F7-48D1-9EF9-341820274C28}" type="slidenum">
              <a:rPr lang="de-DE" sz="900" smtClean="0">
                <a:solidFill>
                  <a:schemeClr val="tx2"/>
                </a:solidFill>
              </a:rPr>
              <a:pPr/>
              <a:t>‹#›</a:t>
            </a:fld>
            <a:endParaRPr lang="de-DE" sz="900">
              <a:solidFill>
                <a:schemeClr val="tx2"/>
              </a:solidFill>
            </a:endParaRP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2D74DD4B-EB2C-4938-B2CD-A8937EF2AE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111828" y="546647"/>
            <a:ext cx="1196989" cy="3194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9785604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19075" y="1012825"/>
            <a:ext cx="6359525" cy="35782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94824" y="4777194"/>
            <a:ext cx="5808027" cy="390861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494823" y="9316309"/>
            <a:ext cx="4938190" cy="16927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1100">
                <a:solidFill>
                  <a:schemeClr val="tx2"/>
                </a:solidFill>
              </a:defRPr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17822" y="9316309"/>
            <a:ext cx="685030" cy="16927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fld id="{5DC6004A-C1DB-4938-ACC8-FECABC7D8C78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2D74DD4B-EB2C-4938-B2CD-A8937EF2AE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111828" y="546647"/>
            <a:ext cx="1196989" cy="3194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28124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600"/>
      </a:spcBef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80000" indent="-180000" algn="l" defTabSz="914400" rtl="0" eaLnBrk="1" latinLnBrk="0" hangingPunct="1">
      <a:spcBef>
        <a:spcPts val="600"/>
      </a:spcBef>
      <a:buClr>
        <a:schemeClr val="tx1"/>
      </a:buClr>
      <a:buSzPct val="120000"/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000" indent="-180000" algn="l" defTabSz="914400" rtl="0" eaLnBrk="1" latinLnBrk="0" hangingPunct="1">
      <a:spcBef>
        <a:spcPts val="200"/>
      </a:spcBef>
      <a:buClr>
        <a:schemeClr val="tx1"/>
      </a:buClr>
      <a:buSzPct val="120000"/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39750" indent="-180000" algn="l" defTabSz="914400" rtl="0" eaLnBrk="1" latinLnBrk="0" hangingPunct="1">
      <a:buClr>
        <a:schemeClr val="tx1"/>
      </a:buClr>
      <a:buSzPct val="120000"/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0000" indent="-180000" algn="l" defTabSz="914400" rtl="0" eaLnBrk="1" latinLnBrk="0" hangingPunct="1">
      <a:buClr>
        <a:schemeClr val="tx1"/>
      </a:buClr>
      <a:buSzPct val="120000"/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C6004A-C1DB-4938-ACC8-FECABC7D8C78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333111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10000"/>
              </a:lnSpc>
              <a:spcBef>
                <a:spcPts val="600"/>
              </a:spcBef>
            </a:pPr>
            <a:r>
              <a:rPr lang="en-GB" sz="1200" dirty="0"/>
              <a:t>P2H</a:t>
            </a:r>
          </a:p>
          <a:p>
            <a:pPr>
              <a:lnSpc>
                <a:spcPct val="110000"/>
              </a:lnSpc>
              <a:spcBef>
                <a:spcPts val="600"/>
              </a:spcBef>
            </a:pPr>
            <a:r>
              <a:rPr lang="en-GB" sz="1200" dirty="0"/>
              <a:t>Nov: slightly short, esp. due to cold weather.</a:t>
            </a:r>
          </a:p>
          <a:p>
            <a:pPr>
              <a:lnSpc>
                <a:spcPct val="110000"/>
              </a:lnSpc>
              <a:spcBef>
                <a:spcPts val="600"/>
              </a:spcBef>
            </a:pPr>
            <a:r>
              <a:rPr lang="en-GB" sz="1200" dirty="0"/>
              <a:t>Dec: slightly short, esp. due to low churn and </a:t>
            </a:r>
            <a:r>
              <a:rPr lang="en-GB" sz="1200" dirty="0" err="1"/>
              <a:t>underhedging</a:t>
            </a:r>
            <a:r>
              <a:rPr lang="en-GB" sz="1200" dirty="0"/>
              <a:t>.</a:t>
            </a:r>
          </a:p>
          <a:p>
            <a:pPr>
              <a:lnSpc>
                <a:spcPct val="110000"/>
              </a:lnSpc>
              <a:spcBef>
                <a:spcPts val="600"/>
              </a:spcBef>
            </a:pPr>
            <a:r>
              <a:rPr lang="en-GB" sz="1200" dirty="0" err="1"/>
              <a:t>Nov+Dec</a:t>
            </a:r>
            <a:r>
              <a:rPr lang="en-GB" sz="1200" dirty="0"/>
              <a:t>: larger-than-usual impact due to high spot prices.</a:t>
            </a:r>
          </a:p>
          <a:p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C6004A-C1DB-4938-ACC8-FECABC7D8C78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02591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C6004A-C1DB-4938-ACC8-FECABC7D8C78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7574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C6004A-C1DB-4938-ACC8-FECABC7D8C78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7243485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C6004A-C1DB-4938-ACC8-FECABC7D8C78}" type="slidenum">
              <a:rPr lang="de-DE" smtClean="0"/>
              <a:pPr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531099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.png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3.png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3.png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.png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Freihandform: Form 33">
            <a:extLst>
              <a:ext uri="{FF2B5EF4-FFF2-40B4-BE49-F238E27FC236}">
                <a16:creationId xmlns:a16="http://schemas.microsoft.com/office/drawing/2014/main" id="{7A88C1D1-625C-4F4E-BECD-5CB70DEB7CC4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191998 w 12192000"/>
              <a:gd name="connsiteY3" fmla="*/ 6858000 h 6858000"/>
              <a:gd name="connsiteX4" fmla="*/ 12191998 w 12192000"/>
              <a:gd name="connsiteY4" fmla="*/ 3429000 h 6858000"/>
              <a:gd name="connsiteX5" fmla="*/ 8518560 w 12192000"/>
              <a:gd name="connsiteY5" fmla="*/ 3429000 h 6858000"/>
              <a:gd name="connsiteX6" fmla="*/ 7608881 w 12192000"/>
              <a:gd name="connsiteY6" fmla="*/ 4338679 h 6858000"/>
              <a:gd name="connsiteX7" fmla="*/ 7608881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91998" y="6858000"/>
                </a:lnTo>
                <a:lnTo>
                  <a:pt x="12191998" y="3429000"/>
                </a:lnTo>
                <a:lnTo>
                  <a:pt x="8518560" y="3429000"/>
                </a:lnTo>
                <a:cubicBezTo>
                  <a:pt x="8016158" y="3429000"/>
                  <a:pt x="7608881" y="3836277"/>
                  <a:pt x="7608881" y="4338679"/>
                </a:cubicBezTo>
                <a:lnTo>
                  <a:pt x="760888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226" y="2825750"/>
            <a:ext cx="6337300" cy="1216025"/>
          </a:xfrm>
        </p:spPr>
        <p:txBody>
          <a:bodyPr anchor="t"/>
          <a:lstStyle>
            <a:lvl1pPr>
              <a:lnSpc>
                <a:spcPct val="80000"/>
              </a:lnSpc>
              <a:defRPr sz="5400"/>
            </a:lvl1pPr>
            <a:lvl2pPr>
              <a:lnSpc>
                <a:spcPct val="80000"/>
              </a:lnSpc>
              <a:defRPr sz="5400"/>
            </a:lvl2pPr>
            <a:lvl3pPr>
              <a:lnSpc>
                <a:spcPct val="80000"/>
              </a:lnSpc>
              <a:defRPr sz="5400"/>
            </a:lvl3pPr>
            <a:lvl4pPr>
              <a:lnSpc>
                <a:spcPct val="80000"/>
              </a:lnSpc>
              <a:defRPr sz="5400"/>
            </a:lvl4pPr>
            <a:lvl5pPr>
              <a:lnSpc>
                <a:spcPct val="80000"/>
              </a:lnSpc>
              <a:defRPr sz="5400"/>
            </a:lvl5pPr>
            <a:lvl6pPr>
              <a:lnSpc>
                <a:spcPct val="80000"/>
              </a:lnSpc>
              <a:defRPr sz="5400"/>
            </a:lvl6pPr>
            <a:lvl7pPr>
              <a:lnSpc>
                <a:spcPct val="80000"/>
              </a:lnSpc>
              <a:defRPr sz="5400"/>
            </a:lvl7pPr>
            <a:lvl8pPr>
              <a:lnSpc>
                <a:spcPct val="80000"/>
              </a:lnSpc>
              <a:defRPr sz="5400"/>
            </a:lvl8pPr>
            <a:lvl9pPr>
              <a:lnSpc>
                <a:spcPct val="80000"/>
              </a:lnSpc>
              <a:defRPr sz="5400"/>
            </a:lvl9pPr>
          </a:lstStyle>
          <a:p>
            <a:pPr lvl="0"/>
            <a:r>
              <a:rPr lang="de-DE"/>
              <a:t>Präsentationstitel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16C1E5B9-FEB6-4AA6-BD6B-F927D33B7586}"/>
              </a:ext>
            </a:extLst>
          </p:cNvPr>
          <p:cNvGrpSpPr/>
          <p:nvPr/>
        </p:nvGrpSpPr>
        <p:grpSpPr>
          <a:xfrm>
            <a:off x="911225" y="1319215"/>
            <a:ext cx="1439910" cy="384176"/>
            <a:chOff x="464743" y="1368699"/>
            <a:chExt cx="2380058" cy="635012"/>
          </a:xfrm>
        </p:grpSpPr>
        <p:sp>
          <p:nvSpPr>
            <p:cNvPr id="13" name="Oval 5">
              <a:extLst>
                <a:ext uri="{FF2B5EF4-FFF2-40B4-BE49-F238E27FC236}">
                  <a16:creationId xmlns:a16="http://schemas.microsoft.com/office/drawing/2014/main" id="{A63FDF46-9240-4989-8BD0-C8E6ACCDA8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BCEEBEBB-AF39-4FA0-BF2A-C2F67F3089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706779D2-753C-408C-8D8F-2EA69C718621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16" name="Freeform 7">
                <a:extLst>
                  <a:ext uri="{FF2B5EF4-FFF2-40B4-BE49-F238E27FC236}">
                    <a16:creationId xmlns:a16="http://schemas.microsoft.com/office/drawing/2014/main" id="{80064577-26DD-4C45-9CA7-CA84B29940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8">
                <a:extLst>
                  <a:ext uri="{FF2B5EF4-FFF2-40B4-BE49-F238E27FC236}">
                    <a16:creationId xmlns:a16="http://schemas.microsoft.com/office/drawing/2014/main" id="{9D448FEE-A734-446E-B740-78A968A27C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9">
                <a:extLst>
                  <a:ext uri="{FF2B5EF4-FFF2-40B4-BE49-F238E27FC236}">
                    <a16:creationId xmlns:a16="http://schemas.microsoft.com/office/drawing/2014/main" id="{888D8F5D-79D7-4B65-A82D-00FF784BBD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0">
                <a:extLst>
                  <a:ext uri="{FF2B5EF4-FFF2-40B4-BE49-F238E27FC236}">
                    <a16:creationId xmlns:a16="http://schemas.microsoft.com/office/drawing/2014/main" id="{C200D8BD-ED64-4635-B9AE-FBB6DE7A03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1">
                <a:extLst>
                  <a:ext uri="{FF2B5EF4-FFF2-40B4-BE49-F238E27FC236}">
                    <a16:creationId xmlns:a16="http://schemas.microsoft.com/office/drawing/2014/main" id="{4AF606B8-E6F5-4239-AF0E-C3B1CB66F7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2">
                <a:extLst>
                  <a:ext uri="{FF2B5EF4-FFF2-40B4-BE49-F238E27FC236}">
                    <a16:creationId xmlns:a16="http://schemas.microsoft.com/office/drawing/2014/main" id="{4FA34997-3170-4E22-BE0E-39B040570F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3">
                <a:extLst>
                  <a:ext uri="{FF2B5EF4-FFF2-40B4-BE49-F238E27FC236}">
                    <a16:creationId xmlns:a16="http://schemas.microsoft.com/office/drawing/2014/main" id="{E0899F0A-43C2-4A2B-BB23-92FD4E59A0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4">
                <a:extLst>
                  <a:ext uri="{FF2B5EF4-FFF2-40B4-BE49-F238E27FC236}">
                    <a16:creationId xmlns:a16="http://schemas.microsoft.com/office/drawing/2014/main" id="{002B1808-6EF8-43A6-98A3-F218A91060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5">
                <a:extLst>
                  <a:ext uri="{FF2B5EF4-FFF2-40B4-BE49-F238E27FC236}">
                    <a16:creationId xmlns:a16="http://schemas.microsoft.com/office/drawing/2014/main" id="{E469321C-D642-4F96-AE63-CD87201D47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6">
                <a:extLst>
                  <a:ext uri="{FF2B5EF4-FFF2-40B4-BE49-F238E27FC236}">
                    <a16:creationId xmlns:a16="http://schemas.microsoft.com/office/drawing/2014/main" id="{4D226FE2-5036-43B8-8F8D-521582CD79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Textplatzhalter 9">
            <a:extLst>
              <a:ext uri="{FF2B5EF4-FFF2-40B4-BE49-F238E27FC236}">
                <a16:creationId xmlns:a16="http://schemas.microsoft.com/office/drawing/2014/main" id="{A3575644-C415-4736-A0BA-E98385D01B2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85404" y="4483700"/>
            <a:ext cx="4963111" cy="216000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Name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3481B9A9-736B-4492-98F4-CFFBBB93D83D}"/>
              </a:ext>
            </a:extLst>
          </p:cNvPr>
          <p:cNvCxnSpPr>
            <a:cxnSpLocks/>
          </p:cNvCxnSpPr>
          <p:nvPr/>
        </p:nvCxnSpPr>
        <p:spPr>
          <a:xfrm>
            <a:off x="2053928" y="4483700"/>
            <a:ext cx="0" cy="17938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hteck: eine Ecke abgerundet 4">
            <a:extLst>
              <a:ext uri="{FF2B5EF4-FFF2-40B4-BE49-F238E27FC236}">
                <a16:creationId xmlns:a16="http://schemas.microsoft.com/office/drawing/2014/main" id="{0BA872EC-5B2E-4929-AD92-88DAB6266A9E}"/>
              </a:ext>
            </a:extLst>
          </p:cNvPr>
          <p:cNvSpPr/>
          <p:nvPr/>
        </p:nvSpPr>
        <p:spPr>
          <a:xfrm flipH="1">
            <a:off x="7859179" y="3253843"/>
            <a:ext cx="4343397" cy="3614737"/>
          </a:xfrm>
          <a:prstGeom prst="round1Rect">
            <a:avLst>
              <a:gd name="adj" fmla="val 2652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B75EBC14-2DC1-4EDF-B828-6BD98E3DDCBA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917583" y="4483700"/>
            <a:ext cx="904868" cy="216000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smtClean="0"/>
            </a:lvl1pPr>
          </a:lstStyle>
          <a:p>
            <a:pPr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fld id="{EA77022A-821D-4916-964C-0D7B5D0E1FFB}" type="datetime1">
              <a:rPr lang="de-DE" smtClean="0"/>
              <a:t>2022-01-13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2B6A11DD-5E08-4096-BA7B-A2496C1019C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2926201B-F022-402F-AD21-442CBEA104D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94446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Bild S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hteck 45">
            <a:extLst>
              <a:ext uri="{FF2B5EF4-FFF2-40B4-BE49-F238E27FC236}">
                <a16:creationId xmlns:a16="http://schemas.microsoft.com/office/drawing/2014/main" id="{3D2A4342-772C-454C-9FB8-F488668A682D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6913562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3A90691E-716D-4DE3-BDD9-DFE364F3C8D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8401050" y="0"/>
            <a:ext cx="3790950" cy="5990252"/>
          </a:xfrm>
          <a:custGeom>
            <a:avLst/>
            <a:gdLst>
              <a:gd name="connsiteX0" fmla="*/ 0 w 3790950"/>
              <a:gd name="connsiteY0" fmla="*/ 0 h 5990252"/>
              <a:gd name="connsiteX1" fmla="*/ 3790950 w 3790950"/>
              <a:gd name="connsiteY1" fmla="*/ 0 h 5990252"/>
              <a:gd name="connsiteX2" fmla="*/ 3790950 w 3790950"/>
              <a:gd name="connsiteY2" fmla="*/ 5990252 h 5990252"/>
              <a:gd name="connsiteX3" fmla="*/ 861219 w 3790950"/>
              <a:gd name="connsiteY3" fmla="*/ 5990252 h 5990252"/>
              <a:gd name="connsiteX4" fmla="*/ 0 w 3790950"/>
              <a:gd name="connsiteY4" fmla="*/ 5129033 h 599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90950" h="5990252">
                <a:moveTo>
                  <a:pt x="0" y="0"/>
                </a:moveTo>
                <a:lnTo>
                  <a:pt x="3790950" y="0"/>
                </a:lnTo>
                <a:lnTo>
                  <a:pt x="3790950" y="5990252"/>
                </a:lnTo>
                <a:lnTo>
                  <a:pt x="861219" y="5990252"/>
                </a:lnTo>
                <a:cubicBezTo>
                  <a:pt x="385581" y="5990252"/>
                  <a:pt x="0" y="5604671"/>
                  <a:pt x="0" y="512903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223D12F-5BA2-4212-90D8-C3F2987139E1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 algn="r"/>
            <a:fld id="{4EA4C9A3-6105-44F4-905E-8A3BDE078073}" type="datetime1">
              <a:rPr lang="de-DE" smtClean="0"/>
              <a:t>2022-01-1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2B1AFC9-741A-4EC5-8430-DC0E85F28FA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D9EA5FB-BF30-46C2-B765-2D66629D139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platzhalter 117">
            <a:extLst>
              <a:ext uri="{FF2B5EF4-FFF2-40B4-BE49-F238E27FC236}">
                <a16:creationId xmlns:a16="http://schemas.microsoft.com/office/drawing/2014/main" id="{E1B82D6B-28E6-4BDE-BF4D-24E61A53183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9EA20353-4C62-4489-B87D-45A1DB0B31E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40577436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Handy Mock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4FB74C79-6B2D-447C-A2E5-85FB3B12B787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D37BE5F2-D7FB-4977-8AF7-D18E307485C0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7167D78A-F631-4872-8F60-EFB6C3F3F2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EC11866A-2BDE-489A-8672-1BDDD2DDCA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412BBC8C-A999-4145-8AF2-263B11FCF75C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id="{757D08F4-328E-40C1-B69B-14F4437DE1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25251DDD-805D-4D26-BF44-4C9F5441CA2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FC4DAFC4-E681-44F5-B923-1F20567D25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EBAA4CDC-2750-471B-AD22-96D8C847C9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DC2428D3-3B70-4634-A5C7-5803307737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3E7E9CD4-A2C5-419E-9B44-13A4212813D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498E6F53-74C9-452A-9930-4FBABABA06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DBED4D4F-FE8B-4103-97F7-7BFC82163AF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E3A5F04A-8433-42FB-9FB9-A2B210CE6A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A49C6C45-95C3-4970-9C5B-9B96FA94F5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 userDrawn="1"/>
        </p:nvSpPr>
        <p:spPr>
          <a:xfrm>
            <a:off x="7812776" y="1130300"/>
            <a:ext cx="2293249" cy="4800600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5761037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4" name="Grafik 13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8154BCEC-D9D2-4955-A59E-FC7B39327B5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736702" y="686312"/>
            <a:ext cx="4049097" cy="6273288"/>
          </a:xfrm>
          <a:prstGeom prst="rect">
            <a:avLst/>
          </a:prstGeom>
        </p:spPr>
      </p:pic>
      <p:sp>
        <p:nvSpPr>
          <p:cNvPr id="48" name="Bildplatzhalter 47">
            <a:extLst>
              <a:ext uri="{FF2B5EF4-FFF2-40B4-BE49-F238E27FC236}">
                <a16:creationId xmlns:a16="http://schemas.microsoft.com/office/drawing/2014/main" id="{21BB63CB-D1F9-47F4-BC55-11AD749DA26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188325" y="834258"/>
            <a:ext cx="2235362" cy="4833117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2EF9841-421F-4152-880D-BBF3BBD10B58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042C314F-5719-4365-B99C-905C84E7001A}" type="datetime1">
              <a:rPr lang="de-DE" smtClean="0"/>
              <a:t>2022-01-13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A86F7D5-69CA-4283-8022-108E607FC8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0EDD423B-497D-4CCF-A170-87E1DA4963E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9" name="Untertitel 2">
            <a:extLst>
              <a:ext uri="{FF2B5EF4-FFF2-40B4-BE49-F238E27FC236}">
                <a16:creationId xmlns:a16="http://schemas.microsoft.com/office/drawing/2014/main" id="{D80F10B3-8276-4E88-A6C7-07F29065465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41486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Handy Mock Up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FEB09ED1-D2C0-4AA9-B708-2A32DD37818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3429000 h 6858000"/>
              <a:gd name="connsiteX3" fmla="*/ 7023099 w 12192000"/>
              <a:gd name="connsiteY3" fmla="*/ 3429000 h 6858000"/>
              <a:gd name="connsiteX4" fmla="*/ 6096000 w 12192000"/>
              <a:gd name="connsiteY4" fmla="*/ 4356099 h 6858000"/>
              <a:gd name="connsiteX5" fmla="*/ 6096000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7023099" y="3429000"/>
                </a:lnTo>
                <a:cubicBezTo>
                  <a:pt x="6511076" y="3429000"/>
                  <a:pt x="6096000" y="3844076"/>
                  <a:pt x="6096000" y="4356099"/>
                </a:cubicBez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 userDrawn="1"/>
        </p:nvSpPr>
        <p:spPr>
          <a:xfrm>
            <a:off x="7812776" y="1130300"/>
            <a:ext cx="2293249" cy="4800600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8138" y="1592263"/>
            <a:ext cx="4605338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9" name="Grafik 1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04A93760-5CB7-4A71-88CE-5A17695854F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736702" y="686312"/>
            <a:ext cx="4049097" cy="6273288"/>
          </a:xfrm>
          <a:prstGeom prst="rect">
            <a:avLst/>
          </a:prstGeom>
        </p:spPr>
      </p:pic>
      <p:sp>
        <p:nvSpPr>
          <p:cNvPr id="12" name="Bildplatzhalter 47">
            <a:extLst>
              <a:ext uri="{FF2B5EF4-FFF2-40B4-BE49-F238E27FC236}">
                <a16:creationId xmlns:a16="http://schemas.microsoft.com/office/drawing/2014/main" id="{9FFF591E-DE1B-4866-BA8A-50846A0938A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188325" y="834258"/>
            <a:ext cx="2235362" cy="4833117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9FAA5AB-AF5D-45FC-9331-37CB30DA67F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60AE57AF-6942-44BA-AC6C-5378EA78C4BC}" type="datetime1">
              <a:rPr lang="de-DE" smtClean="0"/>
              <a:t>2022-01-13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586052F2-2BEC-49E6-B1FD-629E3243462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CC481FCD-D56C-4922-BAFD-224BE4BC24F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01E1623E-C7C8-456D-B712-2ACDFE584EBB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5" cy="635012"/>
          </a:xfrm>
        </p:grpSpPr>
        <p:sp>
          <p:nvSpPr>
            <p:cNvPr id="14" name="Oval 5">
              <a:extLst>
                <a:ext uri="{FF2B5EF4-FFF2-40B4-BE49-F238E27FC236}">
                  <a16:creationId xmlns:a16="http://schemas.microsoft.com/office/drawing/2014/main" id="{358E2997-F269-4B55-819A-BD949E9783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576BB871-46F7-4C87-A566-E27C94415E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1553D4F3-B8D5-4E12-8C8B-CA8D8E2770C0}"/>
                </a:ext>
              </a:extLst>
            </p:cNvPr>
            <p:cNvGrpSpPr/>
            <p:nvPr/>
          </p:nvGrpSpPr>
          <p:grpSpPr>
            <a:xfrm>
              <a:off x="1311216" y="1530579"/>
              <a:ext cx="1533582" cy="307590"/>
              <a:chOff x="3987943" y="2307132"/>
              <a:chExt cx="2607166" cy="522910"/>
            </a:xfrm>
          </p:grpSpPr>
          <p:sp>
            <p:nvSpPr>
              <p:cNvPr id="18" name="Freeform 7">
                <a:extLst>
                  <a:ext uri="{FF2B5EF4-FFF2-40B4-BE49-F238E27FC236}">
                    <a16:creationId xmlns:a16="http://schemas.microsoft.com/office/drawing/2014/main" id="{27F14C16-9401-415C-8BD8-DEE7D893D8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0D470AC2-F14B-419D-9CAB-34FCD7601E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D544B772-451B-4E62-A44C-36EEB45F0E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F3045032-1089-4088-B9C1-C273C1BDBB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F21C82FE-8694-4686-BBB5-827622BDA3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44A7E0A4-CDDC-416C-AC69-00FF083A8DC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9DB17AFF-3E32-4842-B851-1F44A3300B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7A4A52D1-E196-43E8-A898-BE5460788F3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05E985F5-C685-49A8-AA2F-949F5BFF5A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DFBA3D12-4595-491A-9605-D4FFC67076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Untertitel 2">
            <a:extLst>
              <a:ext uri="{FF2B5EF4-FFF2-40B4-BE49-F238E27FC236}">
                <a16:creationId xmlns:a16="http://schemas.microsoft.com/office/drawing/2014/main" id="{4183A1A1-BC31-4A6E-B753-CF550ECE5E1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3289970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 Handy Mock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F693E912-CA16-42BD-9B13-E1115EE96111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889F97A2-ABF2-4D64-AA66-7883CE332E97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6" name="Oval 5">
              <a:extLst>
                <a:ext uri="{FF2B5EF4-FFF2-40B4-BE49-F238E27FC236}">
                  <a16:creationId xmlns:a16="http://schemas.microsoft.com/office/drawing/2014/main" id="{66F7C95D-74B4-4F5C-BBA7-91A1AB90BE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3D9B1101-3E32-4271-B4DC-D4062FF254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8" name="Gruppieren 27">
              <a:extLst>
                <a:ext uri="{FF2B5EF4-FFF2-40B4-BE49-F238E27FC236}">
                  <a16:creationId xmlns:a16="http://schemas.microsoft.com/office/drawing/2014/main" id="{9829AB22-8D52-461F-B440-26A77B86CB0D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29" name="Freeform 7">
                <a:extLst>
                  <a:ext uri="{FF2B5EF4-FFF2-40B4-BE49-F238E27FC236}">
                    <a16:creationId xmlns:a16="http://schemas.microsoft.com/office/drawing/2014/main" id="{4CF857CC-2901-4F42-9233-853B5D63AE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8">
                <a:extLst>
                  <a:ext uri="{FF2B5EF4-FFF2-40B4-BE49-F238E27FC236}">
                    <a16:creationId xmlns:a16="http://schemas.microsoft.com/office/drawing/2014/main" id="{11FE3F05-9217-42BC-80A9-AAC7E6E849E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9">
                <a:extLst>
                  <a:ext uri="{FF2B5EF4-FFF2-40B4-BE49-F238E27FC236}">
                    <a16:creationId xmlns:a16="http://schemas.microsoft.com/office/drawing/2014/main" id="{16B3B9FE-F133-438D-AD84-EC51942391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0">
                <a:extLst>
                  <a:ext uri="{FF2B5EF4-FFF2-40B4-BE49-F238E27FC236}">
                    <a16:creationId xmlns:a16="http://schemas.microsoft.com/office/drawing/2014/main" id="{8FBD55AD-9814-4F26-B91E-D2C4B92999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1">
                <a:extLst>
                  <a:ext uri="{FF2B5EF4-FFF2-40B4-BE49-F238E27FC236}">
                    <a16:creationId xmlns:a16="http://schemas.microsoft.com/office/drawing/2014/main" id="{C30F0D69-4CC1-4454-B748-72DFF851EB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2">
                <a:extLst>
                  <a:ext uri="{FF2B5EF4-FFF2-40B4-BE49-F238E27FC236}">
                    <a16:creationId xmlns:a16="http://schemas.microsoft.com/office/drawing/2014/main" id="{0AAA4B98-3BAE-4F2F-872C-6C32595267F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3">
                <a:extLst>
                  <a:ext uri="{FF2B5EF4-FFF2-40B4-BE49-F238E27FC236}">
                    <a16:creationId xmlns:a16="http://schemas.microsoft.com/office/drawing/2014/main" id="{F07DF6E7-F0CD-4ED2-87FD-6841CDC592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4">
                <a:extLst>
                  <a:ext uri="{FF2B5EF4-FFF2-40B4-BE49-F238E27FC236}">
                    <a16:creationId xmlns:a16="http://schemas.microsoft.com/office/drawing/2014/main" id="{9A456FC8-BDB6-4546-ABF9-E769BDB6F0F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5">
                <a:extLst>
                  <a:ext uri="{FF2B5EF4-FFF2-40B4-BE49-F238E27FC236}">
                    <a16:creationId xmlns:a16="http://schemas.microsoft.com/office/drawing/2014/main" id="{6C563657-972E-403C-94BC-040D3D7BAB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6">
                <a:extLst>
                  <a:ext uri="{FF2B5EF4-FFF2-40B4-BE49-F238E27FC236}">
                    <a16:creationId xmlns:a16="http://schemas.microsoft.com/office/drawing/2014/main" id="{BAFE9A3D-A61B-4444-B4F4-796B96D8ED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4" y="1592263"/>
            <a:ext cx="3672850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2EF9841-421F-4152-880D-BBF3BBD10B58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4F370F76-FCE8-467F-AA5B-9DAE3D935FAF}" type="datetime1">
              <a:rPr lang="de-DE" smtClean="0"/>
              <a:t>2022-01-13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A86F7D5-69CA-4283-8022-108E607FC8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0EDD423B-497D-4CCF-A170-87E1DA4963E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C2346866-6A4B-4F6D-B6A3-C5F9E9CC4A34}"/>
              </a:ext>
            </a:extLst>
          </p:cNvPr>
          <p:cNvSpPr/>
          <p:nvPr/>
        </p:nvSpPr>
        <p:spPr>
          <a:xfrm>
            <a:off x="4799975" y="1873261"/>
            <a:ext cx="1451388" cy="3038279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pic>
        <p:nvPicPr>
          <p:cNvPr id="15" name="Grafik 14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A2ECC125-1D19-463D-901C-78124C185B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18932" y="1592263"/>
            <a:ext cx="2562657" cy="3970337"/>
          </a:xfrm>
          <a:prstGeom prst="rect">
            <a:avLst/>
          </a:prstGeom>
        </p:spPr>
      </p:pic>
      <p:sp>
        <p:nvSpPr>
          <p:cNvPr id="18" name="Rechteck: abgerundete Ecken 17">
            <a:extLst>
              <a:ext uri="{FF2B5EF4-FFF2-40B4-BE49-F238E27FC236}">
                <a16:creationId xmlns:a16="http://schemas.microsoft.com/office/drawing/2014/main" id="{8068B0AF-45C9-4587-80AA-5FB0C48136E6}"/>
              </a:ext>
            </a:extLst>
          </p:cNvPr>
          <p:cNvSpPr/>
          <p:nvPr/>
        </p:nvSpPr>
        <p:spPr>
          <a:xfrm>
            <a:off x="8253833" y="1873261"/>
            <a:ext cx="1451388" cy="3038279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pic>
        <p:nvPicPr>
          <p:cNvPr id="19" name="Grafik 1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4EA724CD-CCCA-40EB-9BBF-7E7FF8A98E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72790" y="1592263"/>
            <a:ext cx="2562657" cy="3970337"/>
          </a:xfrm>
          <a:prstGeom prst="rect">
            <a:avLst/>
          </a:prstGeom>
        </p:spPr>
      </p:pic>
      <p:sp>
        <p:nvSpPr>
          <p:cNvPr id="35" name="Bildplatzhalter 47">
            <a:extLst>
              <a:ext uri="{FF2B5EF4-FFF2-40B4-BE49-F238E27FC236}">
                <a16:creationId xmlns:a16="http://schemas.microsoft.com/office/drawing/2014/main" id="{491BA93E-E5F3-48AC-A3BA-B7D4CD7DBEC5}"/>
              </a:ext>
            </a:extLst>
          </p:cNvPr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5037658" y="1685897"/>
            <a:ext cx="1414752" cy="3055001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37" name="Bildplatzhalter 47">
            <a:extLst>
              <a:ext uri="{FF2B5EF4-FFF2-40B4-BE49-F238E27FC236}">
                <a16:creationId xmlns:a16="http://schemas.microsoft.com/office/drawing/2014/main" id="{574E156E-CBCD-45CF-AAC9-84D35B20AAC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8491516" y="1685897"/>
            <a:ext cx="1414752" cy="3055001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38" name="Textplatzhalter 5">
            <a:extLst>
              <a:ext uri="{FF2B5EF4-FFF2-40B4-BE49-F238E27FC236}">
                <a16:creationId xmlns:a16="http://schemas.microsoft.com/office/drawing/2014/main" id="{C0A94FD5-C278-4C7F-A805-75DA9B93B8F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943474" y="5149895"/>
            <a:ext cx="2228035" cy="412706"/>
          </a:xfrm>
        </p:spPr>
        <p:txBody>
          <a:bodyPr anchor="t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1</a:t>
            </a:r>
          </a:p>
        </p:txBody>
      </p:sp>
      <p:sp>
        <p:nvSpPr>
          <p:cNvPr id="20" name="Textplatzhalter 5">
            <a:extLst>
              <a:ext uri="{FF2B5EF4-FFF2-40B4-BE49-F238E27FC236}">
                <a16:creationId xmlns:a16="http://schemas.microsoft.com/office/drawing/2014/main" id="{5676D185-2C51-4F27-B9D6-5A1E42D749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01051" y="5149895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2</a:t>
            </a:r>
          </a:p>
        </p:txBody>
      </p:sp>
      <p:sp>
        <p:nvSpPr>
          <p:cNvPr id="21" name="Textplatzhalter 28">
            <a:extLst>
              <a:ext uri="{FF2B5EF4-FFF2-40B4-BE49-F238E27FC236}">
                <a16:creationId xmlns:a16="http://schemas.microsoft.com/office/drawing/2014/main" id="{43C8CC5A-2B84-4101-830B-BCD94185DE4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43474" y="5562601"/>
            <a:ext cx="2665414" cy="711199"/>
          </a:xfrm>
        </p:spPr>
        <p:txBody>
          <a:bodyPr anchor="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2" name="Textplatzhalter 28">
            <a:extLst>
              <a:ext uri="{FF2B5EF4-FFF2-40B4-BE49-F238E27FC236}">
                <a16:creationId xmlns:a16="http://schemas.microsoft.com/office/drawing/2014/main" id="{C3041C11-8D41-447B-B837-FF9F7E94DC8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01051" y="5562601"/>
            <a:ext cx="2665414" cy="711199"/>
          </a:xfrm>
        </p:spPr>
        <p:txBody>
          <a:bodyPr anchor="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42" name="Untertitel 2">
            <a:extLst>
              <a:ext uri="{FF2B5EF4-FFF2-40B4-BE49-F238E27FC236}">
                <a16:creationId xmlns:a16="http://schemas.microsoft.com/office/drawing/2014/main" id="{2E98CD02-CE11-48FF-B502-815B0DFE15E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3473186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iPad Mock Up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>
            <a:extLst>
              <a:ext uri="{FF2B5EF4-FFF2-40B4-BE49-F238E27FC236}">
                <a16:creationId xmlns:a16="http://schemas.microsoft.com/office/drawing/2014/main" id="{E1BED03D-8460-498D-A1AC-CCC54B626AC6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 userDrawn="1"/>
        </p:nvSpPr>
        <p:spPr>
          <a:xfrm>
            <a:off x="7039363" y="883805"/>
            <a:ext cx="3838704" cy="5024482"/>
          </a:xfrm>
          <a:prstGeom prst="roundRect">
            <a:avLst>
              <a:gd name="adj" fmla="val 786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5761037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610447DE-E9B1-426F-82A5-E201443FF2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0770" t="2076" r="21396"/>
          <a:stretch/>
        </p:blipFill>
        <p:spPr>
          <a:xfrm>
            <a:off x="4943475" y="0"/>
            <a:ext cx="7248525" cy="6715642"/>
          </a:xfrm>
          <a:prstGeom prst="rect">
            <a:avLst/>
          </a:prstGeom>
        </p:spPr>
      </p:pic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034FB8A-2730-47DE-9C0C-033D8CB058B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346951" y="863600"/>
            <a:ext cx="3540124" cy="4718049"/>
          </a:xfrm>
          <a:prstGeom prst="roundRect">
            <a:avLst>
              <a:gd name="adj" fmla="val 1667"/>
            </a:avLst>
          </a:prstGeo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7176DD0E-9929-4538-ACFB-E458064BEE1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85DD812B-4C9E-4305-99CC-AA5831DE8656}" type="datetime1">
              <a:rPr lang="de-DE" smtClean="0"/>
              <a:t>2022-01-13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6E9E8ECA-2D12-46E2-8C00-0D84AE7CF77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C25A6720-D3C1-4E2C-85FF-10DE442AAA0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95CA273A-0E00-4169-8E39-02DD820041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3467376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iPad Mock Up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2C37800F-9453-4EDC-97E8-0481E758488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3429000 h 6858000"/>
              <a:gd name="connsiteX3" fmla="*/ 7023099 w 12192000"/>
              <a:gd name="connsiteY3" fmla="*/ 3429000 h 6858000"/>
              <a:gd name="connsiteX4" fmla="*/ 6096000 w 12192000"/>
              <a:gd name="connsiteY4" fmla="*/ 4356099 h 6858000"/>
              <a:gd name="connsiteX5" fmla="*/ 6096000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7023099" y="3429000"/>
                </a:lnTo>
                <a:cubicBezTo>
                  <a:pt x="6511076" y="3429000"/>
                  <a:pt x="6096000" y="3844076"/>
                  <a:pt x="6096000" y="4356099"/>
                </a:cubicBez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 userDrawn="1"/>
        </p:nvSpPr>
        <p:spPr>
          <a:xfrm>
            <a:off x="7039363" y="883805"/>
            <a:ext cx="3838704" cy="5024482"/>
          </a:xfrm>
          <a:prstGeom prst="roundRect">
            <a:avLst>
              <a:gd name="adj" fmla="val 786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3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610447DE-E9B1-426F-82A5-E201443FF2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7399" t="2076" r="21395"/>
          <a:stretch/>
        </p:blipFill>
        <p:spPr>
          <a:xfrm>
            <a:off x="4583113" y="0"/>
            <a:ext cx="7608887" cy="6715642"/>
          </a:xfrm>
          <a:prstGeom prst="rect">
            <a:avLst/>
          </a:prstGeom>
          <a:ln>
            <a:noFill/>
          </a:ln>
        </p:spPr>
      </p:pic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034FB8A-2730-47DE-9C0C-033D8CB058B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346951" y="863600"/>
            <a:ext cx="3540124" cy="4718049"/>
          </a:xfrm>
          <a:prstGeom prst="roundRect">
            <a:avLst>
              <a:gd name="adj" fmla="val 1667"/>
            </a:avLst>
          </a:prstGeo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EE2E0E08-E5AC-46D2-99B4-35BA98B72A2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4AD4801F-0D44-4634-AC39-942592325E78}" type="datetime1">
              <a:rPr lang="de-DE" smtClean="0"/>
              <a:t>2022-01-13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3D9E1DE6-5FAE-435F-8AB8-2D86709EE6F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EE4286F4-D689-4FFC-91E4-90B2645B9A9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C6753097-1DB3-419A-91AC-D5B72E871A6B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5" cy="635012"/>
          </a:xfrm>
        </p:grpSpPr>
        <p:sp>
          <p:nvSpPr>
            <p:cNvPr id="15" name="Oval 5">
              <a:extLst>
                <a:ext uri="{FF2B5EF4-FFF2-40B4-BE49-F238E27FC236}">
                  <a16:creationId xmlns:a16="http://schemas.microsoft.com/office/drawing/2014/main" id="{D9D85354-3FEE-4119-853F-1445998749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CD487532-8521-417D-A048-8C4669F44C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9BD55D0F-593D-4A0D-BDE4-5B4526B1B436}"/>
                </a:ext>
              </a:extLst>
            </p:cNvPr>
            <p:cNvGrpSpPr/>
            <p:nvPr/>
          </p:nvGrpSpPr>
          <p:grpSpPr>
            <a:xfrm>
              <a:off x="1311216" y="1530579"/>
              <a:ext cx="1533582" cy="307590"/>
              <a:chOff x="3987943" y="2307132"/>
              <a:chExt cx="2607166" cy="522910"/>
            </a:xfrm>
          </p:grpSpPr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id="{88A73487-47E1-40BC-8038-B766B67DE0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766DB691-F432-4C12-AD93-97CDBC51174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5B123C74-CC3A-4AD1-9730-E708E9E6CB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23C307AD-317D-49F1-A441-ED1F085FA2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32A47BD3-B6FB-4D5B-8877-027C93A600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9CA9328C-1744-4387-B2F3-894A3FDF23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A9FB15DC-2278-452D-9B77-04B672B950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7F9A4067-A3D0-46C1-A9A2-E06E9AE5E9D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28C6CDC7-E6AB-4633-989A-4AA770A644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E6F3B9CD-F6AE-4110-B914-353C627514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Untertitel 2">
            <a:extLst>
              <a:ext uri="{FF2B5EF4-FFF2-40B4-BE49-F238E27FC236}">
                <a16:creationId xmlns:a16="http://schemas.microsoft.com/office/drawing/2014/main" id="{E3810548-5250-4FDE-AAF9-A480E9D1A93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174144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ext Handy Mock Up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A696F84D-DB9D-457F-BE17-29C1F65B4D3D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8138" y="1592263"/>
            <a:ext cx="4605338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2" name="Grafik 11" descr="Ein Bild, das Screenshot, Laptop, Monitor, Computer enthält.&#10;&#10;Automatisch generierte Beschreibung">
            <a:extLst>
              <a:ext uri="{FF2B5EF4-FFF2-40B4-BE49-F238E27FC236}">
                <a16:creationId xmlns:a16="http://schemas.microsoft.com/office/drawing/2014/main" id="{FA77D189-6797-4577-BAA8-586C620A049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9256" t="1596" r="17397" b="11922"/>
          <a:stretch/>
        </p:blipFill>
        <p:spPr>
          <a:xfrm>
            <a:off x="4664075" y="927099"/>
            <a:ext cx="7248525" cy="5930901"/>
          </a:xfrm>
          <a:prstGeom prst="rect">
            <a:avLst/>
          </a:prstGeom>
        </p:spPr>
      </p:pic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A3D237B3-D03E-4E3B-843B-878E7432337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13450" y="2308224"/>
            <a:ext cx="4924425" cy="3073401"/>
          </a:xfr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70EB910-E9BB-4098-920D-18DAC1BCAF1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51B6087B-40B0-4E60-8F79-5152C58F1E94}" type="datetime1">
              <a:rPr lang="de-DE" smtClean="0"/>
              <a:t>2022-01-1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F2F0E9D-60A9-4F53-BA09-C1D4CC7AA0F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AAA1933-32F6-413A-B222-EEFB93717F2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Untertitel 2">
            <a:extLst>
              <a:ext uri="{FF2B5EF4-FFF2-40B4-BE49-F238E27FC236}">
                <a16:creationId xmlns:a16="http://schemas.microsoft.com/office/drawing/2014/main" id="{0F31F1AC-D0ED-4F1B-B76D-58972EB3E8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857375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ext iPad Mock Up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reihandform: Form 23">
            <a:extLst>
              <a:ext uri="{FF2B5EF4-FFF2-40B4-BE49-F238E27FC236}">
                <a16:creationId xmlns:a16="http://schemas.microsoft.com/office/drawing/2014/main" id="{5BC63CF1-AB2D-493B-90A3-E2C49E60720A}"/>
              </a:ext>
            </a:extLst>
          </p:cNvPr>
          <p:cNvSpPr>
            <a:spLocks/>
          </p:cNvSpPr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3429000 h 6858000"/>
              <a:gd name="connsiteX3" fmla="*/ 5883844 w 12192000"/>
              <a:gd name="connsiteY3" fmla="*/ 3429000 h 6858000"/>
              <a:gd name="connsiteX4" fmla="*/ 4943475 w 12192000"/>
              <a:gd name="connsiteY4" fmla="*/ 4369369 h 6858000"/>
              <a:gd name="connsiteX5" fmla="*/ 4943475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5883844" y="3429000"/>
                </a:lnTo>
                <a:cubicBezTo>
                  <a:pt x="5364493" y="3429000"/>
                  <a:pt x="4943475" y="3850018"/>
                  <a:pt x="4943475" y="4369369"/>
                </a:cubicBezTo>
                <a:lnTo>
                  <a:pt x="494347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31" name="Freihandform: Form 30">
            <a:extLst>
              <a:ext uri="{FF2B5EF4-FFF2-40B4-BE49-F238E27FC236}">
                <a16:creationId xmlns:a16="http://schemas.microsoft.com/office/drawing/2014/main" id="{3E512BA9-15DC-4FAA-A0F7-40DB80896D80}"/>
              </a:ext>
            </a:extLst>
          </p:cNvPr>
          <p:cNvSpPr/>
          <p:nvPr userDrawn="1"/>
        </p:nvSpPr>
        <p:spPr>
          <a:xfrm flipH="1">
            <a:off x="5099343" y="3213933"/>
            <a:ext cx="7170708" cy="3748842"/>
          </a:xfrm>
          <a:custGeom>
            <a:avLst/>
            <a:gdLst>
              <a:gd name="connsiteX0" fmla="*/ 6132037 w 7170708"/>
              <a:gd name="connsiteY0" fmla="*/ 0 h 3748842"/>
              <a:gd name="connsiteX1" fmla="*/ 0 w 7170708"/>
              <a:gd name="connsiteY1" fmla="*/ 0 h 3748842"/>
              <a:gd name="connsiteX2" fmla="*/ 0 w 7170708"/>
              <a:gd name="connsiteY2" fmla="*/ 3748842 h 3748842"/>
              <a:gd name="connsiteX3" fmla="*/ 7170708 w 7170708"/>
              <a:gd name="connsiteY3" fmla="*/ 3748842 h 3748842"/>
              <a:gd name="connsiteX4" fmla="*/ 7170708 w 7170708"/>
              <a:gd name="connsiteY4" fmla="*/ 1038671 h 3748842"/>
              <a:gd name="connsiteX5" fmla="*/ 6132037 w 7170708"/>
              <a:gd name="connsiteY5" fmla="*/ 0 h 3748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170708" h="3748842">
                <a:moveTo>
                  <a:pt x="6132037" y="0"/>
                </a:moveTo>
                <a:lnTo>
                  <a:pt x="0" y="0"/>
                </a:lnTo>
                <a:lnTo>
                  <a:pt x="0" y="3748842"/>
                </a:lnTo>
                <a:lnTo>
                  <a:pt x="7170708" y="3748842"/>
                </a:lnTo>
                <a:lnTo>
                  <a:pt x="7170708" y="1038671"/>
                </a:lnTo>
                <a:cubicBezTo>
                  <a:pt x="7170708" y="465029"/>
                  <a:pt x="6705679" y="0"/>
                  <a:pt x="6132037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8138" y="1592263"/>
            <a:ext cx="4244975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7" name="Grafik 16" descr="Ein Bild, das Screenshot, Laptop, Monitor, Computer enthält.&#10;&#10;Automatisch generierte Beschreibung">
            <a:extLst>
              <a:ext uri="{FF2B5EF4-FFF2-40B4-BE49-F238E27FC236}">
                <a16:creationId xmlns:a16="http://schemas.microsoft.com/office/drawing/2014/main" id="{F975FC98-9C9A-4B54-BAA5-D026FFF13A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9256" t="1596" r="17397" b="11922"/>
          <a:stretch/>
        </p:blipFill>
        <p:spPr>
          <a:xfrm>
            <a:off x="4664075" y="927099"/>
            <a:ext cx="7248525" cy="5930901"/>
          </a:xfrm>
          <a:prstGeom prst="rect">
            <a:avLst/>
          </a:prstGeom>
        </p:spPr>
      </p:pic>
      <p:sp>
        <p:nvSpPr>
          <p:cNvPr id="18" name="Bildplatzhalter 15">
            <a:extLst>
              <a:ext uri="{FF2B5EF4-FFF2-40B4-BE49-F238E27FC236}">
                <a16:creationId xmlns:a16="http://schemas.microsoft.com/office/drawing/2014/main" id="{AFAC29CB-6258-49F1-AEFE-48C4C763D58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13450" y="2308224"/>
            <a:ext cx="4924425" cy="3073401"/>
          </a:xfr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7A6C8F5-0559-4B3D-A642-2C4638D4E8E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5D1688FA-1287-47C8-BC61-C1B0038638DF}" type="datetime1">
              <a:rPr lang="de-DE" smtClean="0"/>
              <a:t>2022-01-1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9C13510-10A4-41C5-8ACF-EB970AA0B7A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A8607A9F-7336-4B10-9A47-B08A47C9013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9FED8C54-FAC3-4862-9B8D-DE240B68C898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5" cy="635012"/>
          </a:xfrm>
        </p:grpSpPr>
        <p:sp>
          <p:nvSpPr>
            <p:cNvPr id="12" name="Oval 5">
              <a:extLst>
                <a:ext uri="{FF2B5EF4-FFF2-40B4-BE49-F238E27FC236}">
                  <a16:creationId xmlns:a16="http://schemas.microsoft.com/office/drawing/2014/main" id="{618A242A-4252-4D1B-815B-B50970AB97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42F15D90-51AE-42BE-9523-CD3B8E3320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26A914C2-F17F-4D57-BA1C-16F80E685638}"/>
                </a:ext>
              </a:extLst>
            </p:cNvPr>
            <p:cNvGrpSpPr/>
            <p:nvPr/>
          </p:nvGrpSpPr>
          <p:grpSpPr>
            <a:xfrm>
              <a:off x="1311216" y="1530579"/>
              <a:ext cx="1533582" cy="307590"/>
              <a:chOff x="3987943" y="2307132"/>
              <a:chExt cx="2607166" cy="522910"/>
            </a:xfrm>
          </p:grpSpPr>
          <p:sp>
            <p:nvSpPr>
              <p:cNvPr id="15" name="Freeform 7">
                <a:extLst>
                  <a:ext uri="{FF2B5EF4-FFF2-40B4-BE49-F238E27FC236}">
                    <a16:creationId xmlns:a16="http://schemas.microsoft.com/office/drawing/2014/main" id="{4E7333A9-F536-43FC-ABA8-4A162CBED9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6" name="Freeform 8">
                <a:extLst>
                  <a:ext uri="{FF2B5EF4-FFF2-40B4-BE49-F238E27FC236}">
                    <a16:creationId xmlns:a16="http://schemas.microsoft.com/office/drawing/2014/main" id="{313E2420-E184-49F6-8BFA-375E9544E8C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9">
                <a:extLst>
                  <a:ext uri="{FF2B5EF4-FFF2-40B4-BE49-F238E27FC236}">
                    <a16:creationId xmlns:a16="http://schemas.microsoft.com/office/drawing/2014/main" id="{01C04114-EC10-47A0-81C9-9838F74193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0">
                <a:extLst>
                  <a:ext uri="{FF2B5EF4-FFF2-40B4-BE49-F238E27FC236}">
                    <a16:creationId xmlns:a16="http://schemas.microsoft.com/office/drawing/2014/main" id="{8643CAF3-5E79-4D28-B7EB-070C2194D4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1">
                <a:extLst>
                  <a:ext uri="{FF2B5EF4-FFF2-40B4-BE49-F238E27FC236}">
                    <a16:creationId xmlns:a16="http://schemas.microsoft.com/office/drawing/2014/main" id="{2295F6D0-883B-49BE-B001-CED3629ED5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2">
                <a:extLst>
                  <a:ext uri="{FF2B5EF4-FFF2-40B4-BE49-F238E27FC236}">
                    <a16:creationId xmlns:a16="http://schemas.microsoft.com/office/drawing/2014/main" id="{BC0F5639-ECB9-4517-8CDE-69479470C2E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3">
                <a:extLst>
                  <a:ext uri="{FF2B5EF4-FFF2-40B4-BE49-F238E27FC236}">
                    <a16:creationId xmlns:a16="http://schemas.microsoft.com/office/drawing/2014/main" id="{C159270D-DF8D-4AC3-8363-CCAC82EFE2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4">
                <a:extLst>
                  <a:ext uri="{FF2B5EF4-FFF2-40B4-BE49-F238E27FC236}">
                    <a16:creationId xmlns:a16="http://schemas.microsoft.com/office/drawing/2014/main" id="{38301C80-BCB6-4108-9076-400D64B6E53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5">
                <a:extLst>
                  <a:ext uri="{FF2B5EF4-FFF2-40B4-BE49-F238E27FC236}">
                    <a16:creationId xmlns:a16="http://schemas.microsoft.com/office/drawing/2014/main" id="{D0B10E0F-1854-4556-B36F-842D6CD836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6">
                <a:extLst>
                  <a:ext uri="{FF2B5EF4-FFF2-40B4-BE49-F238E27FC236}">
                    <a16:creationId xmlns:a16="http://schemas.microsoft.com/office/drawing/2014/main" id="{DB35A381-AE18-43BE-A680-D2E071507F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Untertitel 2">
            <a:extLst>
              <a:ext uri="{FF2B5EF4-FFF2-40B4-BE49-F238E27FC236}">
                <a16:creationId xmlns:a16="http://schemas.microsoft.com/office/drawing/2014/main" id="{64999305-2975-4935-BDB6-2F64448E1C9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3078652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 Ups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>
            <a:extLst>
              <a:ext uri="{FF2B5EF4-FFF2-40B4-BE49-F238E27FC236}">
                <a16:creationId xmlns:a16="http://schemas.microsoft.com/office/drawing/2014/main" id="{F4D442B0-99F5-4C88-8580-A83BDAD26F45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70EB910-E9BB-4098-920D-18DAC1BCAF1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4A79E99B-A94F-491F-BB7E-3ACBD44B0C19}" type="datetime1">
              <a:rPr lang="de-DE" smtClean="0"/>
              <a:t>2022-01-1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F2F0E9D-60A9-4F53-BA09-C1D4CC7AA0F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AAA1933-32F6-413A-B222-EEFB93717F2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3" name="Grafik 12" descr="Ein Bild, das Screenshot, Laptop, Monitor, Computer enthält.&#10;&#10;Automatisch generierte Beschreibung">
            <a:extLst>
              <a:ext uri="{FF2B5EF4-FFF2-40B4-BE49-F238E27FC236}">
                <a16:creationId xmlns:a16="http://schemas.microsoft.com/office/drawing/2014/main" id="{274B7DAE-D42C-43A7-AB86-58AE8C71161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9256" t="17496" r="17397" b="11922"/>
          <a:stretch/>
        </p:blipFill>
        <p:spPr>
          <a:xfrm>
            <a:off x="603314" y="1544713"/>
            <a:ext cx="8079717" cy="5395499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4DE50EBE-0732-4A1B-8ED1-6A2DB92F9FD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2196" t="11127" r="28438"/>
          <a:stretch/>
        </p:blipFill>
        <p:spPr>
          <a:xfrm>
            <a:off x="5929809" y="2113191"/>
            <a:ext cx="5024002" cy="4827021"/>
          </a:xfrm>
          <a:prstGeom prst="rect">
            <a:avLst/>
          </a:prstGeom>
        </p:spPr>
      </p:pic>
      <p:sp>
        <p:nvSpPr>
          <p:cNvPr id="25" name="Bildplatzhalter 24">
            <a:extLst>
              <a:ext uri="{FF2B5EF4-FFF2-40B4-BE49-F238E27FC236}">
                <a16:creationId xmlns:a16="http://schemas.microsoft.com/office/drawing/2014/main" id="{BA7F5975-2F43-434A-A628-CA5A5F191F87}"/>
              </a:ext>
            </a:extLst>
          </p:cNvPr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107423" y="1868711"/>
            <a:ext cx="5489111" cy="3425829"/>
          </a:xfrm>
          <a:custGeom>
            <a:avLst/>
            <a:gdLst>
              <a:gd name="connsiteX0" fmla="*/ 0 w 5489111"/>
              <a:gd name="connsiteY0" fmla="*/ 0 h 3425829"/>
              <a:gd name="connsiteX1" fmla="*/ 5489111 w 5489111"/>
              <a:gd name="connsiteY1" fmla="*/ 0 h 3425829"/>
              <a:gd name="connsiteX2" fmla="*/ 5489111 w 5489111"/>
              <a:gd name="connsiteY2" fmla="*/ 2258813 h 3425829"/>
              <a:gd name="connsiteX3" fmla="*/ 4839123 w 5489111"/>
              <a:gd name="connsiteY3" fmla="*/ 2258788 h 3425829"/>
              <a:gd name="connsiteX4" fmla="*/ 4750322 w 5489111"/>
              <a:gd name="connsiteY4" fmla="*/ 2284867 h 3425829"/>
              <a:gd name="connsiteX5" fmla="*/ 4682035 w 5489111"/>
              <a:gd name="connsiteY5" fmla="*/ 2398573 h 3425829"/>
              <a:gd name="connsiteX6" fmla="*/ 4681617 w 5489111"/>
              <a:gd name="connsiteY6" fmla="*/ 2410092 h 3425829"/>
              <a:gd name="connsiteX7" fmla="*/ 4681599 w 5489111"/>
              <a:gd name="connsiteY7" fmla="*/ 2572763 h 3425829"/>
              <a:gd name="connsiteX8" fmla="*/ 4681599 w 5489111"/>
              <a:gd name="connsiteY8" fmla="*/ 2579897 h 3425829"/>
              <a:gd name="connsiteX9" fmla="*/ 4676100 w 5489111"/>
              <a:gd name="connsiteY9" fmla="*/ 2588768 h 3425829"/>
              <a:gd name="connsiteX10" fmla="*/ 4676142 w 5489111"/>
              <a:gd name="connsiteY10" fmla="*/ 2659787 h 3425829"/>
              <a:gd name="connsiteX11" fmla="*/ 4681095 w 5489111"/>
              <a:gd name="connsiteY11" fmla="*/ 2666770 h 3425829"/>
              <a:gd name="connsiteX12" fmla="*/ 4681095 w 5489111"/>
              <a:gd name="connsiteY12" fmla="*/ 2741680 h 3425829"/>
              <a:gd name="connsiteX13" fmla="*/ 4671996 w 5489111"/>
              <a:gd name="connsiteY13" fmla="*/ 2745494 h 3425829"/>
              <a:gd name="connsiteX14" fmla="*/ 4671996 w 5489111"/>
              <a:gd name="connsiteY14" fmla="*/ 2885114 h 3425829"/>
              <a:gd name="connsiteX15" fmla="*/ 4681174 w 5489111"/>
              <a:gd name="connsiteY15" fmla="*/ 2889262 h 3425829"/>
              <a:gd name="connsiteX16" fmla="*/ 4681174 w 5489111"/>
              <a:gd name="connsiteY16" fmla="*/ 2924571 h 3425829"/>
              <a:gd name="connsiteX17" fmla="*/ 4671996 w 5489111"/>
              <a:gd name="connsiteY17" fmla="*/ 2928815 h 3425829"/>
              <a:gd name="connsiteX18" fmla="*/ 4671996 w 5489111"/>
              <a:gd name="connsiteY18" fmla="*/ 3068437 h 3425829"/>
              <a:gd name="connsiteX19" fmla="*/ 4681599 w 5489111"/>
              <a:gd name="connsiteY19" fmla="*/ 3071891 h 3425829"/>
              <a:gd name="connsiteX20" fmla="*/ 4681599 w 5489111"/>
              <a:gd name="connsiteY20" fmla="*/ 3079742 h 3425829"/>
              <a:gd name="connsiteX21" fmla="*/ 4681532 w 5489111"/>
              <a:gd name="connsiteY21" fmla="*/ 3425829 h 3425829"/>
              <a:gd name="connsiteX22" fmla="*/ 0 w 5489111"/>
              <a:gd name="connsiteY22" fmla="*/ 3425829 h 3425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5489111" h="3425829">
                <a:moveTo>
                  <a:pt x="0" y="0"/>
                </a:moveTo>
                <a:lnTo>
                  <a:pt x="5489111" y="0"/>
                </a:lnTo>
                <a:lnTo>
                  <a:pt x="5489111" y="2258813"/>
                </a:lnTo>
                <a:lnTo>
                  <a:pt x="4839123" y="2258788"/>
                </a:lnTo>
                <a:cubicBezTo>
                  <a:pt x="4806911" y="2258782"/>
                  <a:pt x="4777017" y="2266657"/>
                  <a:pt x="4750322" y="2284867"/>
                </a:cubicBezTo>
                <a:cubicBezTo>
                  <a:pt x="4710224" y="2312222"/>
                  <a:pt x="4687553" y="2350312"/>
                  <a:pt x="4682035" y="2398573"/>
                </a:cubicBezTo>
                <a:cubicBezTo>
                  <a:pt x="4681605" y="2402380"/>
                  <a:pt x="4681617" y="2406254"/>
                  <a:pt x="4681617" y="2410092"/>
                </a:cubicBezTo>
                <a:cubicBezTo>
                  <a:pt x="4681592" y="2464315"/>
                  <a:pt x="4681599" y="2518539"/>
                  <a:pt x="4681599" y="2572763"/>
                </a:cubicBezTo>
                <a:cubicBezTo>
                  <a:pt x="4681599" y="2574979"/>
                  <a:pt x="4681599" y="2577201"/>
                  <a:pt x="4681599" y="2579897"/>
                </a:cubicBezTo>
                <a:cubicBezTo>
                  <a:pt x="4676639" y="2580856"/>
                  <a:pt x="4676063" y="2584293"/>
                  <a:pt x="4676100" y="2588768"/>
                </a:cubicBezTo>
                <a:cubicBezTo>
                  <a:pt x="4676299" y="2612437"/>
                  <a:pt x="4676245" y="2636112"/>
                  <a:pt x="4676142" y="2659787"/>
                </a:cubicBezTo>
                <a:cubicBezTo>
                  <a:pt x="4676123" y="2663448"/>
                  <a:pt x="4676767" y="2666223"/>
                  <a:pt x="4681095" y="2666770"/>
                </a:cubicBezTo>
                <a:cubicBezTo>
                  <a:pt x="4681095" y="2691993"/>
                  <a:pt x="4681095" y="2716992"/>
                  <a:pt x="4681095" y="2741680"/>
                </a:cubicBezTo>
                <a:cubicBezTo>
                  <a:pt x="4677805" y="2743059"/>
                  <a:pt x="4674904" y="2744274"/>
                  <a:pt x="4671996" y="2745494"/>
                </a:cubicBezTo>
                <a:cubicBezTo>
                  <a:pt x="4671996" y="2792037"/>
                  <a:pt x="4671996" y="2838573"/>
                  <a:pt x="4671996" y="2885114"/>
                </a:cubicBezTo>
                <a:cubicBezTo>
                  <a:pt x="4674843" y="2886402"/>
                  <a:pt x="4677690" y="2887696"/>
                  <a:pt x="4681174" y="2889262"/>
                </a:cubicBezTo>
                <a:cubicBezTo>
                  <a:pt x="4681174" y="2900684"/>
                  <a:pt x="4681174" y="2912821"/>
                  <a:pt x="4681174" y="2924571"/>
                </a:cubicBezTo>
                <a:cubicBezTo>
                  <a:pt x="4678000" y="2926041"/>
                  <a:pt x="4675000" y="2927425"/>
                  <a:pt x="4671996" y="2928815"/>
                </a:cubicBezTo>
                <a:cubicBezTo>
                  <a:pt x="4671996" y="2975358"/>
                  <a:pt x="4671996" y="3021894"/>
                  <a:pt x="4671996" y="3068437"/>
                </a:cubicBezTo>
                <a:cubicBezTo>
                  <a:pt x="4674946" y="3069499"/>
                  <a:pt x="4677902" y="3070562"/>
                  <a:pt x="4681599" y="3071891"/>
                </a:cubicBezTo>
                <a:cubicBezTo>
                  <a:pt x="4681599" y="3074150"/>
                  <a:pt x="4681599" y="3076950"/>
                  <a:pt x="4681599" y="3079742"/>
                </a:cubicBezTo>
                <a:lnTo>
                  <a:pt x="4681532" y="3425829"/>
                </a:lnTo>
                <a:lnTo>
                  <a:pt x="0" y="3425829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01B8DF7D-187D-4366-AAFF-1729A720A270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712602" y="2305552"/>
            <a:ext cx="2803684" cy="3736569"/>
          </a:xfrm>
          <a:custGeom>
            <a:avLst/>
            <a:gdLst>
              <a:gd name="connsiteX0" fmla="*/ 50578 w 2803684"/>
              <a:gd name="connsiteY0" fmla="*/ 0 h 3736569"/>
              <a:gd name="connsiteX1" fmla="*/ 2753106 w 2803684"/>
              <a:gd name="connsiteY1" fmla="*/ 0 h 3736569"/>
              <a:gd name="connsiteX2" fmla="*/ 2803684 w 2803684"/>
              <a:gd name="connsiteY2" fmla="*/ 50578 h 3736569"/>
              <a:gd name="connsiteX3" fmla="*/ 2803684 w 2803684"/>
              <a:gd name="connsiteY3" fmla="*/ 3685991 h 3736569"/>
              <a:gd name="connsiteX4" fmla="*/ 2753106 w 2803684"/>
              <a:gd name="connsiteY4" fmla="*/ 3736569 h 3736569"/>
              <a:gd name="connsiteX5" fmla="*/ 162509 w 2803684"/>
              <a:gd name="connsiteY5" fmla="*/ 3736569 h 3736569"/>
              <a:gd name="connsiteX6" fmla="*/ 162509 w 2803684"/>
              <a:gd name="connsiteY6" fmla="*/ 2607094 h 3736569"/>
              <a:gd name="connsiteX7" fmla="*/ 162509 w 2803684"/>
              <a:gd name="connsiteY7" fmla="*/ 2598290 h 3736569"/>
              <a:gd name="connsiteX8" fmla="*/ 163607 w 2803684"/>
              <a:gd name="connsiteY8" fmla="*/ 2597173 h 3736569"/>
              <a:gd name="connsiteX9" fmla="*/ 170921 w 2803684"/>
              <a:gd name="connsiteY9" fmla="*/ 2588040 h 3736569"/>
              <a:gd name="connsiteX10" fmla="*/ 170921 w 2803684"/>
              <a:gd name="connsiteY10" fmla="*/ 2317324 h 3736569"/>
              <a:gd name="connsiteX11" fmla="*/ 162502 w 2803684"/>
              <a:gd name="connsiteY11" fmla="*/ 2307008 h 3736569"/>
              <a:gd name="connsiteX12" fmla="*/ 162502 w 2803684"/>
              <a:gd name="connsiteY12" fmla="*/ 2299369 h 3736569"/>
              <a:gd name="connsiteX13" fmla="*/ 162435 w 2803684"/>
              <a:gd name="connsiteY13" fmla="*/ 1976451 h 3736569"/>
              <a:gd name="connsiteX14" fmla="*/ 116232 w 2803684"/>
              <a:gd name="connsiteY14" fmla="*/ 1866480 h 3736569"/>
              <a:gd name="connsiteX15" fmla="*/ 10999 w 2803684"/>
              <a:gd name="connsiteY15" fmla="*/ 1822020 h 3736569"/>
              <a:gd name="connsiteX16" fmla="*/ 4935 w 2803684"/>
              <a:gd name="connsiteY16" fmla="*/ 1821977 h 3736569"/>
              <a:gd name="connsiteX17" fmla="*/ 0 w 2803684"/>
              <a:gd name="connsiteY17" fmla="*/ 1821977 h 3736569"/>
              <a:gd name="connsiteX18" fmla="*/ 0 w 2803684"/>
              <a:gd name="connsiteY18" fmla="*/ 50578 h 3736569"/>
              <a:gd name="connsiteX19" fmla="*/ 50578 w 2803684"/>
              <a:gd name="connsiteY19" fmla="*/ 0 h 37365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2803684" h="3736569">
                <a:moveTo>
                  <a:pt x="50578" y="0"/>
                </a:moveTo>
                <a:lnTo>
                  <a:pt x="2753106" y="0"/>
                </a:lnTo>
                <a:cubicBezTo>
                  <a:pt x="2781039" y="0"/>
                  <a:pt x="2803684" y="22645"/>
                  <a:pt x="2803684" y="50578"/>
                </a:cubicBezTo>
                <a:lnTo>
                  <a:pt x="2803684" y="3685991"/>
                </a:lnTo>
                <a:cubicBezTo>
                  <a:pt x="2803684" y="3713924"/>
                  <a:pt x="2781039" y="3736569"/>
                  <a:pt x="2753106" y="3736569"/>
                </a:cubicBezTo>
                <a:lnTo>
                  <a:pt x="162509" y="3736569"/>
                </a:lnTo>
                <a:lnTo>
                  <a:pt x="162509" y="2607094"/>
                </a:lnTo>
                <a:cubicBezTo>
                  <a:pt x="162509" y="2604064"/>
                  <a:pt x="162509" y="2601040"/>
                  <a:pt x="162509" y="2598290"/>
                </a:cubicBezTo>
                <a:cubicBezTo>
                  <a:pt x="163048" y="2597719"/>
                  <a:pt x="163279" y="2597252"/>
                  <a:pt x="163607" y="2597173"/>
                </a:cubicBezTo>
                <a:cubicBezTo>
                  <a:pt x="170903" y="2595448"/>
                  <a:pt x="170921" y="2595460"/>
                  <a:pt x="170921" y="2588040"/>
                </a:cubicBezTo>
                <a:cubicBezTo>
                  <a:pt x="170927" y="2497804"/>
                  <a:pt x="170921" y="2407560"/>
                  <a:pt x="170921" y="2317324"/>
                </a:cubicBezTo>
                <a:cubicBezTo>
                  <a:pt x="170921" y="2309230"/>
                  <a:pt x="170909" y="2309230"/>
                  <a:pt x="162502" y="2307008"/>
                </a:cubicBezTo>
                <a:cubicBezTo>
                  <a:pt x="162502" y="2304560"/>
                  <a:pt x="162502" y="2301961"/>
                  <a:pt x="162502" y="2299369"/>
                </a:cubicBezTo>
                <a:cubicBezTo>
                  <a:pt x="162496" y="2191729"/>
                  <a:pt x="162624" y="2084090"/>
                  <a:pt x="162435" y="1976451"/>
                </a:cubicBezTo>
                <a:cubicBezTo>
                  <a:pt x="162363" y="1933485"/>
                  <a:pt x="146733" y="1896621"/>
                  <a:pt x="116232" y="1866480"/>
                </a:cubicBezTo>
                <a:cubicBezTo>
                  <a:pt x="87181" y="1837771"/>
                  <a:pt x="51752" y="1823380"/>
                  <a:pt x="10999" y="1822020"/>
                </a:cubicBezTo>
                <a:cubicBezTo>
                  <a:pt x="8978" y="1821953"/>
                  <a:pt x="6957" y="1821977"/>
                  <a:pt x="4935" y="1821977"/>
                </a:cubicBezTo>
                <a:lnTo>
                  <a:pt x="0" y="1821977"/>
                </a:lnTo>
                <a:lnTo>
                  <a:pt x="0" y="50578"/>
                </a:lnTo>
                <a:cubicBezTo>
                  <a:pt x="0" y="22645"/>
                  <a:pt x="22645" y="0"/>
                  <a:pt x="50578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pic>
        <p:nvPicPr>
          <p:cNvPr id="20" name="Grafik 19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7520ED33-6FFC-499F-AF20-DFC3D141147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21937" y="4121602"/>
            <a:ext cx="1750019" cy="2711314"/>
          </a:xfrm>
          <a:prstGeom prst="rect">
            <a:avLst/>
          </a:prstGeom>
        </p:spPr>
      </p:pic>
      <p:sp>
        <p:nvSpPr>
          <p:cNvPr id="26" name="Bildplatzhalter 47">
            <a:extLst>
              <a:ext uri="{FF2B5EF4-FFF2-40B4-BE49-F238E27FC236}">
                <a16:creationId xmlns:a16="http://schemas.microsoft.com/office/drawing/2014/main" id="{E0128E7F-A8D7-4916-93FD-7AB5101C9FD0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6849328" y="4185544"/>
            <a:ext cx="966123" cy="2086238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 sz="1000"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15" name="Untertitel 2">
            <a:extLst>
              <a:ext uri="{FF2B5EF4-FFF2-40B4-BE49-F238E27FC236}">
                <a16:creationId xmlns:a16="http://schemas.microsoft.com/office/drawing/2014/main" id="{3A0209CD-0EAD-4006-95BF-47A32ED2291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544666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lde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496294BF-D3D0-4802-AC90-6B34E21A471A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2C40E76C-945F-4CFF-AF64-9F4AFBE031EE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DC92EF49-6770-4821-85BD-6B58BC2A37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F36EF048-6182-46E6-8FD1-9B53FFDF399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D131AAE3-7275-45DF-A769-EAF56E6801CA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5E1A07C7-D4A9-4D9C-BF1E-2F347913A4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8">
                <a:extLst>
                  <a:ext uri="{FF2B5EF4-FFF2-40B4-BE49-F238E27FC236}">
                    <a16:creationId xmlns:a16="http://schemas.microsoft.com/office/drawing/2014/main" id="{5FE140FB-ECB4-439D-BF7A-348D7592C41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9">
                <a:extLst>
                  <a:ext uri="{FF2B5EF4-FFF2-40B4-BE49-F238E27FC236}">
                    <a16:creationId xmlns:a16="http://schemas.microsoft.com/office/drawing/2014/main" id="{4AD64196-CF34-4AD0-A16E-5539B10016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0">
                <a:extLst>
                  <a:ext uri="{FF2B5EF4-FFF2-40B4-BE49-F238E27FC236}">
                    <a16:creationId xmlns:a16="http://schemas.microsoft.com/office/drawing/2014/main" id="{F414E838-E68E-4F8F-9508-065C7A4E81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1">
                <a:extLst>
                  <a:ext uri="{FF2B5EF4-FFF2-40B4-BE49-F238E27FC236}">
                    <a16:creationId xmlns:a16="http://schemas.microsoft.com/office/drawing/2014/main" id="{50B37B52-58A7-4290-B58A-6D0AD767A2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9" name="Freeform 12">
                <a:extLst>
                  <a:ext uri="{FF2B5EF4-FFF2-40B4-BE49-F238E27FC236}">
                    <a16:creationId xmlns:a16="http://schemas.microsoft.com/office/drawing/2014/main" id="{09B8253D-2FF1-4631-B01A-1BB370558AE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3">
                <a:extLst>
                  <a:ext uri="{FF2B5EF4-FFF2-40B4-BE49-F238E27FC236}">
                    <a16:creationId xmlns:a16="http://schemas.microsoft.com/office/drawing/2014/main" id="{A56A50CE-D116-4E3D-9F9C-6B4A7A9BD1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4">
                <a:extLst>
                  <a:ext uri="{FF2B5EF4-FFF2-40B4-BE49-F238E27FC236}">
                    <a16:creationId xmlns:a16="http://schemas.microsoft.com/office/drawing/2014/main" id="{1E1E3BA3-3D65-4AEE-89A2-7A24EE545D5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5">
                <a:extLst>
                  <a:ext uri="{FF2B5EF4-FFF2-40B4-BE49-F238E27FC236}">
                    <a16:creationId xmlns:a16="http://schemas.microsoft.com/office/drawing/2014/main" id="{CEBC7267-459F-46CB-9686-DC9EC33EA1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6">
                <a:extLst>
                  <a:ext uri="{FF2B5EF4-FFF2-40B4-BE49-F238E27FC236}">
                    <a16:creationId xmlns:a16="http://schemas.microsoft.com/office/drawing/2014/main" id="{FB993FA4-CFC5-4837-A96F-50FD90CAC3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487488" y="1592263"/>
            <a:ext cx="3821114" cy="2960687"/>
          </a:xfrm>
          <a:prstGeom prst="round2SameRect">
            <a:avLst>
              <a:gd name="adj1" fmla="val 10554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1" name="Bildplatzhalter 40">
            <a:extLst>
              <a:ext uri="{FF2B5EF4-FFF2-40B4-BE49-F238E27FC236}">
                <a16:creationId xmlns:a16="http://schemas.microsoft.com/office/drawing/2014/main" id="{1E250036-7D62-4114-A92A-3112FF8860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6883399" y="1592263"/>
            <a:ext cx="3821114" cy="2960687"/>
          </a:xfrm>
          <a:prstGeom prst="round2SameRect">
            <a:avLst>
              <a:gd name="adj1" fmla="val 10554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9AEC450-8DAE-4E70-AD4D-356D0443C963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 algn="r"/>
            <a:fld id="{8BC8A6F9-89C8-45C6-8592-E65640FB7FC9}" type="datetime1">
              <a:rPr lang="de-DE" smtClean="0"/>
              <a:t>2022-01-1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E236985-8E22-4FFB-AFEF-C6A5AC20472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72AF24B-2DDF-4827-A36F-31975804BAE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7" name="Textplatzhalter 5">
            <a:extLst>
              <a:ext uri="{FF2B5EF4-FFF2-40B4-BE49-F238E27FC236}">
                <a16:creationId xmlns:a16="http://schemas.microsoft.com/office/drawing/2014/main" id="{847B9E13-3744-40A3-A85C-84015DF9DFA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487488" y="4853032"/>
            <a:ext cx="3821114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1</a:t>
            </a:r>
          </a:p>
        </p:txBody>
      </p:sp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AE328B77-E9BB-42BD-AEA3-064C0C6E30D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883399" y="4853032"/>
            <a:ext cx="3821114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2</a:t>
            </a:r>
          </a:p>
        </p:txBody>
      </p:sp>
      <p:sp>
        <p:nvSpPr>
          <p:cNvPr id="14" name="Textplatzhalter 28">
            <a:extLst>
              <a:ext uri="{FF2B5EF4-FFF2-40B4-BE49-F238E27FC236}">
                <a16:creationId xmlns:a16="http://schemas.microsoft.com/office/drawing/2014/main" id="{6B8CED60-7D19-4349-BF76-DCB0CAE8F172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1487488" y="5265738"/>
            <a:ext cx="3821114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platzhalter 28">
            <a:extLst>
              <a:ext uri="{FF2B5EF4-FFF2-40B4-BE49-F238E27FC236}">
                <a16:creationId xmlns:a16="http://schemas.microsoft.com/office/drawing/2014/main" id="{B349CDDB-B0BE-4223-93D7-5E44317803C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883399" y="5265738"/>
            <a:ext cx="3821114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4" name="Untertitel 2">
            <a:extLst>
              <a:ext uri="{FF2B5EF4-FFF2-40B4-BE49-F238E27FC236}">
                <a16:creationId xmlns:a16="http://schemas.microsoft.com/office/drawing/2014/main" id="{EFB095B4-D464-4FD4-A661-443649D94EB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3411344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lde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FD7AA177-9107-4D8D-9F97-1CDC2E86A4A7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2B4F717E-0C12-479E-8553-1DE225BA4CE3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7" name="Oval 5">
              <a:extLst>
                <a:ext uri="{FF2B5EF4-FFF2-40B4-BE49-F238E27FC236}">
                  <a16:creationId xmlns:a16="http://schemas.microsoft.com/office/drawing/2014/main" id="{F5645894-B5F9-45B1-A40B-B3AD39B1C7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8" name="Freeform 6">
              <a:extLst>
                <a:ext uri="{FF2B5EF4-FFF2-40B4-BE49-F238E27FC236}">
                  <a16:creationId xmlns:a16="http://schemas.microsoft.com/office/drawing/2014/main" id="{C8E2313B-3F49-4183-945F-97BA2EC06B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9" name="Gruppieren 28">
              <a:extLst>
                <a:ext uri="{FF2B5EF4-FFF2-40B4-BE49-F238E27FC236}">
                  <a16:creationId xmlns:a16="http://schemas.microsoft.com/office/drawing/2014/main" id="{3B6A391F-4FE1-47A0-B9BE-2920F1ED3D1C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30" name="Freeform 7">
                <a:extLst>
                  <a:ext uri="{FF2B5EF4-FFF2-40B4-BE49-F238E27FC236}">
                    <a16:creationId xmlns:a16="http://schemas.microsoft.com/office/drawing/2014/main" id="{26127AE2-ABCB-4715-985A-7CA177F904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8">
                <a:extLst>
                  <a:ext uri="{FF2B5EF4-FFF2-40B4-BE49-F238E27FC236}">
                    <a16:creationId xmlns:a16="http://schemas.microsoft.com/office/drawing/2014/main" id="{47B751FB-ED4E-40F8-B3E1-8245EB4CB92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9">
                <a:extLst>
                  <a:ext uri="{FF2B5EF4-FFF2-40B4-BE49-F238E27FC236}">
                    <a16:creationId xmlns:a16="http://schemas.microsoft.com/office/drawing/2014/main" id="{202E4F70-0E90-4670-9460-1C780E817E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0">
                <a:extLst>
                  <a:ext uri="{FF2B5EF4-FFF2-40B4-BE49-F238E27FC236}">
                    <a16:creationId xmlns:a16="http://schemas.microsoft.com/office/drawing/2014/main" id="{E5FDADB1-A503-4639-9E3B-1381DFE4D7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1">
                <a:extLst>
                  <a:ext uri="{FF2B5EF4-FFF2-40B4-BE49-F238E27FC236}">
                    <a16:creationId xmlns:a16="http://schemas.microsoft.com/office/drawing/2014/main" id="{33443494-539D-49EE-9E6B-5E23AD7F81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12">
                <a:extLst>
                  <a:ext uri="{FF2B5EF4-FFF2-40B4-BE49-F238E27FC236}">
                    <a16:creationId xmlns:a16="http://schemas.microsoft.com/office/drawing/2014/main" id="{30065938-87C5-41B9-BA6F-8CFD0951766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3">
                <a:extLst>
                  <a:ext uri="{FF2B5EF4-FFF2-40B4-BE49-F238E27FC236}">
                    <a16:creationId xmlns:a16="http://schemas.microsoft.com/office/drawing/2014/main" id="{FC291407-C501-454B-A8EE-7CAC0EBF29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4">
                <a:extLst>
                  <a:ext uri="{FF2B5EF4-FFF2-40B4-BE49-F238E27FC236}">
                    <a16:creationId xmlns:a16="http://schemas.microsoft.com/office/drawing/2014/main" id="{95E6D4F2-3255-40E5-A13F-91246F7BCE2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5">
                <a:extLst>
                  <a:ext uri="{FF2B5EF4-FFF2-40B4-BE49-F238E27FC236}">
                    <a16:creationId xmlns:a16="http://schemas.microsoft.com/office/drawing/2014/main" id="{444BCF27-B343-42A9-9DCA-E33BAC3C23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6">
                <a:extLst>
                  <a:ext uri="{FF2B5EF4-FFF2-40B4-BE49-F238E27FC236}">
                    <a16:creationId xmlns:a16="http://schemas.microsoft.com/office/drawing/2014/main" id="{3CC4F76B-36A1-4B25-9B0A-2D354D2305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762000" y="1592263"/>
            <a:ext cx="3025775" cy="2960687"/>
          </a:xfrm>
          <a:custGeom>
            <a:avLst/>
            <a:gdLst>
              <a:gd name="connsiteX0" fmla="*/ 309333 w 3025775"/>
              <a:gd name="connsiteY0" fmla="*/ 0 h 2960687"/>
              <a:gd name="connsiteX1" fmla="*/ 2716442 w 3025775"/>
              <a:gd name="connsiteY1" fmla="*/ 0 h 2960687"/>
              <a:gd name="connsiteX2" fmla="*/ 3025775 w 3025775"/>
              <a:gd name="connsiteY2" fmla="*/ 309333 h 2960687"/>
              <a:gd name="connsiteX3" fmla="*/ 3025775 w 3025775"/>
              <a:gd name="connsiteY3" fmla="*/ 2960687 h 2960687"/>
              <a:gd name="connsiteX4" fmla="*/ 0 w 3025775"/>
              <a:gd name="connsiteY4" fmla="*/ 2960687 h 2960687"/>
              <a:gd name="connsiteX5" fmla="*/ 0 w 3025775"/>
              <a:gd name="connsiteY5" fmla="*/ 309333 h 2960687"/>
              <a:gd name="connsiteX6" fmla="*/ 309333 w 3025775"/>
              <a:gd name="connsiteY6" fmla="*/ 0 h 2960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25775" h="2960687">
                <a:moveTo>
                  <a:pt x="309333" y="0"/>
                </a:moveTo>
                <a:lnTo>
                  <a:pt x="2716442" y="0"/>
                </a:lnTo>
                <a:cubicBezTo>
                  <a:pt x="2887282" y="0"/>
                  <a:pt x="3025775" y="138493"/>
                  <a:pt x="3025775" y="309333"/>
                </a:cubicBezTo>
                <a:lnTo>
                  <a:pt x="3025775" y="2960687"/>
                </a:lnTo>
                <a:lnTo>
                  <a:pt x="0" y="2960687"/>
                </a:lnTo>
                <a:lnTo>
                  <a:pt x="0" y="309333"/>
                </a:lnTo>
                <a:cubicBezTo>
                  <a:pt x="0" y="138493"/>
                  <a:pt x="138493" y="0"/>
                  <a:pt x="309333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F93A7B41-6D62-4864-8FFA-1765074A406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4583112" y="1592263"/>
            <a:ext cx="3025775" cy="2960687"/>
          </a:xfrm>
          <a:custGeom>
            <a:avLst/>
            <a:gdLst>
              <a:gd name="connsiteX0" fmla="*/ 309333 w 3025775"/>
              <a:gd name="connsiteY0" fmla="*/ 0 h 2960687"/>
              <a:gd name="connsiteX1" fmla="*/ 2716442 w 3025775"/>
              <a:gd name="connsiteY1" fmla="*/ 0 h 2960687"/>
              <a:gd name="connsiteX2" fmla="*/ 3025775 w 3025775"/>
              <a:gd name="connsiteY2" fmla="*/ 309333 h 2960687"/>
              <a:gd name="connsiteX3" fmla="*/ 3025775 w 3025775"/>
              <a:gd name="connsiteY3" fmla="*/ 2960687 h 2960687"/>
              <a:gd name="connsiteX4" fmla="*/ 0 w 3025775"/>
              <a:gd name="connsiteY4" fmla="*/ 2960687 h 2960687"/>
              <a:gd name="connsiteX5" fmla="*/ 0 w 3025775"/>
              <a:gd name="connsiteY5" fmla="*/ 309333 h 2960687"/>
              <a:gd name="connsiteX6" fmla="*/ 309333 w 3025775"/>
              <a:gd name="connsiteY6" fmla="*/ 0 h 2960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25775" h="2960687">
                <a:moveTo>
                  <a:pt x="309333" y="0"/>
                </a:moveTo>
                <a:lnTo>
                  <a:pt x="2716442" y="0"/>
                </a:lnTo>
                <a:cubicBezTo>
                  <a:pt x="2887282" y="0"/>
                  <a:pt x="3025775" y="138493"/>
                  <a:pt x="3025775" y="309333"/>
                </a:cubicBezTo>
                <a:lnTo>
                  <a:pt x="3025775" y="2960687"/>
                </a:lnTo>
                <a:lnTo>
                  <a:pt x="0" y="2960687"/>
                </a:lnTo>
                <a:lnTo>
                  <a:pt x="0" y="309333"/>
                </a:lnTo>
                <a:cubicBezTo>
                  <a:pt x="0" y="138493"/>
                  <a:pt x="138493" y="0"/>
                  <a:pt x="309333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2" name="Bildplatzhalter 21">
            <a:extLst>
              <a:ext uri="{FF2B5EF4-FFF2-40B4-BE49-F238E27FC236}">
                <a16:creationId xmlns:a16="http://schemas.microsoft.com/office/drawing/2014/main" id="{F8EA52FF-4D6F-4786-948F-F5BBA46C445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8401050" y="1592263"/>
            <a:ext cx="3025775" cy="2960687"/>
          </a:xfrm>
          <a:custGeom>
            <a:avLst/>
            <a:gdLst>
              <a:gd name="connsiteX0" fmla="*/ 309333 w 3025775"/>
              <a:gd name="connsiteY0" fmla="*/ 0 h 2960687"/>
              <a:gd name="connsiteX1" fmla="*/ 2716442 w 3025775"/>
              <a:gd name="connsiteY1" fmla="*/ 0 h 2960687"/>
              <a:gd name="connsiteX2" fmla="*/ 3025775 w 3025775"/>
              <a:gd name="connsiteY2" fmla="*/ 309333 h 2960687"/>
              <a:gd name="connsiteX3" fmla="*/ 3025775 w 3025775"/>
              <a:gd name="connsiteY3" fmla="*/ 2960687 h 2960687"/>
              <a:gd name="connsiteX4" fmla="*/ 0 w 3025775"/>
              <a:gd name="connsiteY4" fmla="*/ 2960687 h 2960687"/>
              <a:gd name="connsiteX5" fmla="*/ 0 w 3025775"/>
              <a:gd name="connsiteY5" fmla="*/ 309333 h 2960687"/>
              <a:gd name="connsiteX6" fmla="*/ 309333 w 3025775"/>
              <a:gd name="connsiteY6" fmla="*/ 0 h 2960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25775" h="2960687">
                <a:moveTo>
                  <a:pt x="309333" y="0"/>
                </a:moveTo>
                <a:lnTo>
                  <a:pt x="2716442" y="0"/>
                </a:lnTo>
                <a:cubicBezTo>
                  <a:pt x="2887282" y="0"/>
                  <a:pt x="3025775" y="138493"/>
                  <a:pt x="3025775" y="309333"/>
                </a:cubicBezTo>
                <a:lnTo>
                  <a:pt x="3025775" y="2960687"/>
                </a:lnTo>
                <a:lnTo>
                  <a:pt x="0" y="2960687"/>
                </a:lnTo>
                <a:lnTo>
                  <a:pt x="0" y="309333"/>
                </a:lnTo>
                <a:cubicBezTo>
                  <a:pt x="0" y="138493"/>
                  <a:pt x="138493" y="0"/>
                  <a:pt x="309333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25FF0B9-EDF2-4882-8704-4545C832A928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 algn="r"/>
            <a:fld id="{FC974D0B-55D4-4B2A-A385-A62427F89992}" type="datetime1">
              <a:rPr lang="de-DE" smtClean="0"/>
              <a:t>2022-01-1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C8D8104-D8B2-4D95-A5F6-12F39DCDEF9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29D6E93-7F18-4FF1-9F28-312A4EDB5789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BFF5B44-121A-4367-B6E2-03918ADA9A5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62000" y="4853032"/>
            <a:ext cx="302577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16" name="Textplatzhalter 8">
            <a:extLst>
              <a:ext uri="{FF2B5EF4-FFF2-40B4-BE49-F238E27FC236}">
                <a16:creationId xmlns:a16="http://schemas.microsoft.com/office/drawing/2014/main" id="{00AAE0B7-896C-497B-B63C-A6AFD3696A2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583112" y="4853032"/>
            <a:ext cx="302577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17" name="Textplatzhalter 8">
            <a:extLst>
              <a:ext uri="{FF2B5EF4-FFF2-40B4-BE49-F238E27FC236}">
                <a16:creationId xmlns:a16="http://schemas.microsoft.com/office/drawing/2014/main" id="{FFA68F9C-9D74-44BD-A0C6-ABA5E620C98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01050" y="4853032"/>
            <a:ext cx="302577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18" name="Textplatzhalter 28">
            <a:extLst>
              <a:ext uri="{FF2B5EF4-FFF2-40B4-BE49-F238E27FC236}">
                <a16:creationId xmlns:a16="http://schemas.microsoft.com/office/drawing/2014/main" id="{3D06BD6F-9548-4E4A-9622-73B7940AF3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62000" y="5265738"/>
            <a:ext cx="302577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Textplatzhalter 28">
            <a:extLst>
              <a:ext uri="{FF2B5EF4-FFF2-40B4-BE49-F238E27FC236}">
                <a16:creationId xmlns:a16="http://schemas.microsoft.com/office/drawing/2014/main" id="{92F70558-BDEB-4EDA-96DC-F9F377A901CF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583112" y="5265738"/>
            <a:ext cx="302577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Textplatzhalter 28">
            <a:extLst>
              <a:ext uri="{FF2B5EF4-FFF2-40B4-BE49-F238E27FC236}">
                <a16:creationId xmlns:a16="http://schemas.microsoft.com/office/drawing/2014/main" id="{A4EEBFB5-31AF-44B0-B449-C6569322919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401050" y="5265738"/>
            <a:ext cx="302577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0" name="Untertitel 2">
            <a:extLst>
              <a:ext uri="{FF2B5EF4-FFF2-40B4-BE49-F238E27FC236}">
                <a16:creationId xmlns:a16="http://schemas.microsoft.com/office/drawing/2014/main" id="{874D5A43-2C95-4DB8-A61B-C912D9B635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578881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Bild M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60CFFCAA-FE4E-4313-92E3-61D46429689A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2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33FA860D-0A1E-41CA-B1A0-2CE3754EDE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096000" y="1"/>
            <a:ext cx="6096000" cy="5990252"/>
          </a:xfrm>
          <a:custGeom>
            <a:avLst/>
            <a:gdLst>
              <a:gd name="connsiteX0" fmla="*/ 0 w 6096000"/>
              <a:gd name="connsiteY0" fmla="*/ 0 h 5990252"/>
              <a:gd name="connsiteX1" fmla="*/ 6096000 w 6096000"/>
              <a:gd name="connsiteY1" fmla="*/ 0 h 5990252"/>
              <a:gd name="connsiteX2" fmla="*/ 6096000 w 6096000"/>
              <a:gd name="connsiteY2" fmla="*/ 5990252 h 5990252"/>
              <a:gd name="connsiteX3" fmla="*/ 861219 w 6096000"/>
              <a:gd name="connsiteY3" fmla="*/ 5990252 h 5990252"/>
              <a:gd name="connsiteX4" fmla="*/ 0 w 6096000"/>
              <a:gd name="connsiteY4" fmla="*/ 5129033 h 599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5990252">
                <a:moveTo>
                  <a:pt x="0" y="0"/>
                </a:moveTo>
                <a:lnTo>
                  <a:pt x="6096000" y="0"/>
                </a:lnTo>
                <a:lnTo>
                  <a:pt x="6096000" y="5990252"/>
                </a:lnTo>
                <a:lnTo>
                  <a:pt x="861219" y="5990252"/>
                </a:lnTo>
                <a:cubicBezTo>
                  <a:pt x="385581" y="5990252"/>
                  <a:pt x="0" y="5604671"/>
                  <a:pt x="0" y="512903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B53A2B0-760E-4033-91D7-8649FC3A050C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194F9C3D-C78D-4E78-8D40-D0C6B39C0400}" type="datetime1">
              <a:rPr lang="de-DE" smtClean="0"/>
              <a:t>2022-01-1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E991CD1-EC6E-43B8-8B3F-4B3737746BE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D784862-17BF-429A-BCE7-BD798D825FD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platzhalter 117">
            <a:extLst>
              <a:ext uri="{FF2B5EF4-FFF2-40B4-BE49-F238E27FC236}">
                <a16:creationId xmlns:a16="http://schemas.microsoft.com/office/drawing/2014/main" id="{8CA28BF6-CD77-4A2E-A2AD-EB98ED41B5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9679123A-B18B-4E56-B697-D2F3428DE74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3954935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ilde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7E8CB8E4-FB84-4648-8735-CB7CC4E6C6DE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FABE9D84-609D-4A0B-9FE3-6E2E3C22590F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7" name="Oval 5">
              <a:extLst>
                <a:ext uri="{FF2B5EF4-FFF2-40B4-BE49-F238E27FC236}">
                  <a16:creationId xmlns:a16="http://schemas.microsoft.com/office/drawing/2014/main" id="{8AB12F9D-2FCF-463F-8048-C6B1518CAC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8" name="Freeform 6">
              <a:extLst>
                <a:ext uri="{FF2B5EF4-FFF2-40B4-BE49-F238E27FC236}">
                  <a16:creationId xmlns:a16="http://schemas.microsoft.com/office/drawing/2014/main" id="{FB2B76A1-114C-433B-8012-C92676EEF8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F0EA9399-9BE8-41AF-8045-D0420265E7A7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37" name="Freeform 7">
                <a:extLst>
                  <a:ext uri="{FF2B5EF4-FFF2-40B4-BE49-F238E27FC236}">
                    <a16:creationId xmlns:a16="http://schemas.microsoft.com/office/drawing/2014/main" id="{C0705B63-CDD9-4B98-BBB9-129890734C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8">
                <a:extLst>
                  <a:ext uri="{FF2B5EF4-FFF2-40B4-BE49-F238E27FC236}">
                    <a16:creationId xmlns:a16="http://schemas.microsoft.com/office/drawing/2014/main" id="{37873C95-B4B9-4D3F-8F2B-1F7E9CDD8D9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9">
                <a:extLst>
                  <a:ext uri="{FF2B5EF4-FFF2-40B4-BE49-F238E27FC236}">
                    <a16:creationId xmlns:a16="http://schemas.microsoft.com/office/drawing/2014/main" id="{DEDCFF11-F37C-4A97-9525-49EC385828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0">
                <a:extLst>
                  <a:ext uri="{FF2B5EF4-FFF2-40B4-BE49-F238E27FC236}">
                    <a16:creationId xmlns:a16="http://schemas.microsoft.com/office/drawing/2014/main" id="{FA6D5E4F-AB2E-44B6-B403-C2E671EBA2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1">
                <a:extLst>
                  <a:ext uri="{FF2B5EF4-FFF2-40B4-BE49-F238E27FC236}">
                    <a16:creationId xmlns:a16="http://schemas.microsoft.com/office/drawing/2014/main" id="{9A77CCC4-C472-4018-B101-78E437AADF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2">
                <a:extLst>
                  <a:ext uri="{FF2B5EF4-FFF2-40B4-BE49-F238E27FC236}">
                    <a16:creationId xmlns:a16="http://schemas.microsoft.com/office/drawing/2014/main" id="{101B07C3-A05E-4452-95C3-A224310903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3" name="Freeform 13">
                <a:extLst>
                  <a:ext uri="{FF2B5EF4-FFF2-40B4-BE49-F238E27FC236}">
                    <a16:creationId xmlns:a16="http://schemas.microsoft.com/office/drawing/2014/main" id="{BD34AE42-2F7D-497A-BC97-5CBC48123F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4" name="Freeform 14">
                <a:extLst>
                  <a:ext uri="{FF2B5EF4-FFF2-40B4-BE49-F238E27FC236}">
                    <a16:creationId xmlns:a16="http://schemas.microsoft.com/office/drawing/2014/main" id="{DAA2AC69-85F7-4098-89C0-B43D8A77CA7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5" name="Freeform 15">
                <a:extLst>
                  <a:ext uri="{FF2B5EF4-FFF2-40B4-BE49-F238E27FC236}">
                    <a16:creationId xmlns:a16="http://schemas.microsoft.com/office/drawing/2014/main" id="{F3A06AD5-31F8-4D18-8639-A476D2C033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6" name="Freeform 16">
                <a:extLst>
                  <a:ext uri="{FF2B5EF4-FFF2-40B4-BE49-F238E27FC236}">
                    <a16:creationId xmlns:a16="http://schemas.microsoft.com/office/drawing/2014/main" id="{6AF5945C-C038-4B9C-9AC1-783433F96C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0543800-777F-4A36-8003-A058D04E62D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 algn="r"/>
            <a:fld id="{931E0302-FF84-48DF-9620-D346999F36EE}" type="datetime1">
              <a:rPr lang="de-DE" smtClean="0"/>
              <a:t>2022-01-1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170F859-33A7-427E-A5C9-27FEA21869B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59A9547-691C-4948-A8E5-C71CA5968B44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DC65F5F3-5F25-49DD-9082-C7A05680F31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62000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29" name="Textplatzhalter 8">
            <a:extLst>
              <a:ext uri="{FF2B5EF4-FFF2-40B4-BE49-F238E27FC236}">
                <a16:creationId xmlns:a16="http://schemas.microsoft.com/office/drawing/2014/main" id="{C7D15551-1290-405F-BD25-6ABF0894721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575682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30" name="Textplatzhalter 8">
            <a:extLst>
              <a:ext uri="{FF2B5EF4-FFF2-40B4-BE49-F238E27FC236}">
                <a16:creationId xmlns:a16="http://schemas.microsoft.com/office/drawing/2014/main" id="{22F89AD0-02C5-4175-B3F4-8788C3137D8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87027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31" name="Textplatzhalter 8">
            <a:extLst>
              <a:ext uri="{FF2B5EF4-FFF2-40B4-BE49-F238E27FC236}">
                <a16:creationId xmlns:a16="http://schemas.microsoft.com/office/drawing/2014/main" id="{FE572951-2F2B-4587-8B08-FA97A950415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197202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4</a:t>
            </a:r>
          </a:p>
        </p:txBody>
      </p:sp>
      <p:sp>
        <p:nvSpPr>
          <p:cNvPr id="33" name="Textplatzhalter 28">
            <a:extLst>
              <a:ext uri="{FF2B5EF4-FFF2-40B4-BE49-F238E27FC236}">
                <a16:creationId xmlns:a16="http://schemas.microsoft.com/office/drawing/2014/main" id="{4ED0B10A-D3D0-4421-86F8-F66783F8525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62000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4" name="Textplatzhalter 28">
            <a:extLst>
              <a:ext uri="{FF2B5EF4-FFF2-40B4-BE49-F238E27FC236}">
                <a16:creationId xmlns:a16="http://schemas.microsoft.com/office/drawing/2014/main" id="{6320E11F-E7F2-4E8F-9EDD-97A74F2BDB6E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575682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5" name="Textplatzhalter 28">
            <a:extLst>
              <a:ext uri="{FF2B5EF4-FFF2-40B4-BE49-F238E27FC236}">
                <a16:creationId xmlns:a16="http://schemas.microsoft.com/office/drawing/2014/main" id="{3DBEFF14-C172-4623-AD1D-F41CEF998726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87027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6" name="Textplatzhalter 28">
            <a:extLst>
              <a:ext uri="{FF2B5EF4-FFF2-40B4-BE49-F238E27FC236}">
                <a16:creationId xmlns:a16="http://schemas.microsoft.com/office/drawing/2014/main" id="{6FA93FC9-E925-4BFF-A3E4-F222D9C8A983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197202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7" name="Untertitel 2">
            <a:extLst>
              <a:ext uri="{FF2B5EF4-FFF2-40B4-BE49-F238E27FC236}">
                <a16:creationId xmlns:a16="http://schemas.microsoft.com/office/drawing/2014/main" id="{8B3E8EA9-ED89-44AD-944F-7AB45C2A9CF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48" name="Bildplatzhalter 47">
            <a:extLst>
              <a:ext uri="{FF2B5EF4-FFF2-40B4-BE49-F238E27FC236}">
                <a16:creationId xmlns:a16="http://schemas.microsoft.com/office/drawing/2014/main" id="{BD1335FE-9238-49F1-B046-85B79AC21B7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762001" y="1592264"/>
            <a:ext cx="2228034" cy="2960686"/>
          </a:xfrm>
          <a:custGeom>
            <a:avLst/>
            <a:gdLst>
              <a:gd name="connsiteX0" fmla="*/ 316581 w 2228034"/>
              <a:gd name="connsiteY0" fmla="*/ 0 h 2960686"/>
              <a:gd name="connsiteX1" fmla="*/ 1911454 w 2228034"/>
              <a:gd name="connsiteY1" fmla="*/ 0 h 2960686"/>
              <a:gd name="connsiteX2" fmla="*/ 2221603 w 2228034"/>
              <a:gd name="connsiteY2" fmla="*/ 252779 h 2960686"/>
              <a:gd name="connsiteX3" fmla="*/ 2228034 w 2228034"/>
              <a:gd name="connsiteY3" fmla="*/ 316571 h 2960686"/>
              <a:gd name="connsiteX4" fmla="*/ 2228034 w 2228034"/>
              <a:gd name="connsiteY4" fmla="*/ 2960686 h 2960686"/>
              <a:gd name="connsiteX5" fmla="*/ 0 w 2228034"/>
              <a:gd name="connsiteY5" fmla="*/ 2960686 h 2960686"/>
              <a:gd name="connsiteX6" fmla="*/ 0 w 2228034"/>
              <a:gd name="connsiteY6" fmla="*/ 2644106 h 2960686"/>
              <a:gd name="connsiteX7" fmla="*/ 0 w 2228034"/>
              <a:gd name="connsiteY7" fmla="*/ 1760537 h 2960686"/>
              <a:gd name="connsiteX8" fmla="*/ 0 w 2228034"/>
              <a:gd name="connsiteY8" fmla="*/ 316581 h 2960686"/>
              <a:gd name="connsiteX9" fmla="*/ 316581 w 2228034"/>
              <a:gd name="connsiteY9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28034" h="2960686">
                <a:moveTo>
                  <a:pt x="316581" y="0"/>
                </a:moveTo>
                <a:lnTo>
                  <a:pt x="1911454" y="0"/>
                </a:lnTo>
                <a:cubicBezTo>
                  <a:pt x="2064442" y="0"/>
                  <a:pt x="2192083" y="108518"/>
                  <a:pt x="2221603" y="252779"/>
                </a:cubicBezTo>
                <a:lnTo>
                  <a:pt x="2228034" y="316571"/>
                </a:lnTo>
                <a:lnTo>
                  <a:pt x="2228034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9" name="Bildplatzhalter 48">
            <a:extLst>
              <a:ext uri="{FF2B5EF4-FFF2-40B4-BE49-F238E27FC236}">
                <a16:creationId xmlns:a16="http://schemas.microsoft.com/office/drawing/2014/main" id="{6326D442-2FA1-424B-B8C3-8E15D5C0F6A2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9197202" y="1592264"/>
            <a:ext cx="2228035" cy="2960686"/>
          </a:xfrm>
          <a:custGeom>
            <a:avLst/>
            <a:gdLst>
              <a:gd name="connsiteX0" fmla="*/ 316581 w 2228035"/>
              <a:gd name="connsiteY0" fmla="*/ 0 h 2960686"/>
              <a:gd name="connsiteX1" fmla="*/ 1911454 w 2228035"/>
              <a:gd name="connsiteY1" fmla="*/ 0 h 2960686"/>
              <a:gd name="connsiteX2" fmla="*/ 2228035 w 2228035"/>
              <a:gd name="connsiteY2" fmla="*/ 316581 h 2960686"/>
              <a:gd name="connsiteX3" fmla="*/ 2228035 w 2228035"/>
              <a:gd name="connsiteY3" fmla="*/ 1760537 h 2960686"/>
              <a:gd name="connsiteX4" fmla="*/ 2228035 w 2228035"/>
              <a:gd name="connsiteY4" fmla="*/ 2644106 h 2960686"/>
              <a:gd name="connsiteX5" fmla="*/ 2228035 w 2228035"/>
              <a:gd name="connsiteY5" fmla="*/ 2960686 h 2960686"/>
              <a:gd name="connsiteX6" fmla="*/ 0 w 2228035"/>
              <a:gd name="connsiteY6" fmla="*/ 2960686 h 2960686"/>
              <a:gd name="connsiteX7" fmla="*/ 0 w 2228035"/>
              <a:gd name="connsiteY7" fmla="*/ 2644106 h 2960686"/>
              <a:gd name="connsiteX8" fmla="*/ 0 w 2228035"/>
              <a:gd name="connsiteY8" fmla="*/ 1760537 h 2960686"/>
              <a:gd name="connsiteX9" fmla="*/ 0 w 2228035"/>
              <a:gd name="connsiteY9" fmla="*/ 316581 h 2960686"/>
              <a:gd name="connsiteX10" fmla="*/ 316581 w 2228035"/>
              <a:gd name="connsiteY10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28035" h="2960686">
                <a:moveTo>
                  <a:pt x="316581" y="0"/>
                </a:moveTo>
                <a:lnTo>
                  <a:pt x="1911454" y="0"/>
                </a:lnTo>
                <a:cubicBezTo>
                  <a:pt x="2086297" y="0"/>
                  <a:pt x="2228035" y="141738"/>
                  <a:pt x="2228035" y="316581"/>
                </a:cubicBezTo>
                <a:lnTo>
                  <a:pt x="2228035" y="1760537"/>
                </a:lnTo>
                <a:lnTo>
                  <a:pt x="2228035" y="2644106"/>
                </a:lnTo>
                <a:lnTo>
                  <a:pt x="2228035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50" name="Bildplatzhalter 49">
            <a:extLst>
              <a:ext uri="{FF2B5EF4-FFF2-40B4-BE49-F238E27FC236}">
                <a16:creationId xmlns:a16="http://schemas.microsoft.com/office/drawing/2014/main" id="{E7169186-C1A6-42A0-8C13-305536EEA55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3575682" y="1592264"/>
            <a:ext cx="2228035" cy="2960686"/>
          </a:xfrm>
          <a:custGeom>
            <a:avLst/>
            <a:gdLst>
              <a:gd name="connsiteX0" fmla="*/ 316581 w 2228035"/>
              <a:gd name="connsiteY0" fmla="*/ 0 h 2960686"/>
              <a:gd name="connsiteX1" fmla="*/ 1911454 w 2228035"/>
              <a:gd name="connsiteY1" fmla="*/ 0 h 2960686"/>
              <a:gd name="connsiteX2" fmla="*/ 2228035 w 2228035"/>
              <a:gd name="connsiteY2" fmla="*/ 316581 h 2960686"/>
              <a:gd name="connsiteX3" fmla="*/ 2228035 w 2228035"/>
              <a:gd name="connsiteY3" fmla="*/ 1760537 h 2960686"/>
              <a:gd name="connsiteX4" fmla="*/ 2228035 w 2228035"/>
              <a:gd name="connsiteY4" fmla="*/ 2644106 h 2960686"/>
              <a:gd name="connsiteX5" fmla="*/ 2228035 w 2228035"/>
              <a:gd name="connsiteY5" fmla="*/ 2960686 h 2960686"/>
              <a:gd name="connsiteX6" fmla="*/ 0 w 2228035"/>
              <a:gd name="connsiteY6" fmla="*/ 2960686 h 2960686"/>
              <a:gd name="connsiteX7" fmla="*/ 0 w 2228035"/>
              <a:gd name="connsiteY7" fmla="*/ 2644106 h 2960686"/>
              <a:gd name="connsiteX8" fmla="*/ 0 w 2228035"/>
              <a:gd name="connsiteY8" fmla="*/ 1760537 h 2960686"/>
              <a:gd name="connsiteX9" fmla="*/ 0 w 2228035"/>
              <a:gd name="connsiteY9" fmla="*/ 316581 h 2960686"/>
              <a:gd name="connsiteX10" fmla="*/ 316581 w 2228035"/>
              <a:gd name="connsiteY10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28035" h="2960686">
                <a:moveTo>
                  <a:pt x="316581" y="0"/>
                </a:moveTo>
                <a:lnTo>
                  <a:pt x="1911454" y="0"/>
                </a:lnTo>
                <a:cubicBezTo>
                  <a:pt x="2086297" y="0"/>
                  <a:pt x="2228035" y="141738"/>
                  <a:pt x="2228035" y="316581"/>
                </a:cubicBezTo>
                <a:lnTo>
                  <a:pt x="2228035" y="1760537"/>
                </a:lnTo>
                <a:lnTo>
                  <a:pt x="2228035" y="2644106"/>
                </a:lnTo>
                <a:lnTo>
                  <a:pt x="2228035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51" name="Bildplatzhalter 50">
            <a:extLst>
              <a:ext uri="{FF2B5EF4-FFF2-40B4-BE49-F238E27FC236}">
                <a16:creationId xmlns:a16="http://schemas.microsoft.com/office/drawing/2014/main" id="{29C7777F-47CA-4354-A701-435081F62033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6387027" y="1592264"/>
            <a:ext cx="2228035" cy="2960686"/>
          </a:xfrm>
          <a:custGeom>
            <a:avLst/>
            <a:gdLst>
              <a:gd name="connsiteX0" fmla="*/ 316581 w 2228035"/>
              <a:gd name="connsiteY0" fmla="*/ 0 h 2960686"/>
              <a:gd name="connsiteX1" fmla="*/ 1911454 w 2228035"/>
              <a:gd name="connsiteY1" fmla="*/ 0 h 2960686"/>
              <a:gd name="connsiteX2" fmla="*/ 2228035 w 2228035"/>
              <a:gd name="connsiteY2" fmla="*/ 316581 h 2960686"/>
              <a:gd name="connsiteX3" fmla="*/ 2228035 w 2228035"/>
              <a:gd name="connsiteY3" fmla="*/ 1760537 h 2960686"/>
              <a:gd name="connsiteX4" fmla="*/ 2228035 w 2228035"/>
              <a:gd name="connsiteY4" fmla="*/ 2644106 h 2960686"/>
              <a:gd name="connsiteX5" fmla="*/ 2228035 w 2228035"/>
              <a:gd name="connsiteY5" fmla="*/ 2960686 h 2960686"/>
              <a:gd name="connsiteX6" fmla="*/ 0 w 2228035"/>
              <a:gd name="connsiteY6" fmla="*/ 2960686 h 2960686"/>
              <a:gd name="connsiteX7" fmla="*/ 0 w 2228035"/>
              <a:gd name="connsiteY7" fmla="*/ 2644106 h 2960686"/>
              <a:gd name="connsiteX8" fmla="*/ 0 w 2228035"/>
              <a:gd name="connsiteY8" fmla="*/ 1760537 h 2960686"/>
              <a:gd name="connsiteX9" fmla="*/ 0 w 2228035"/>
              <a:gd name="connsiteY9" fmla="*/ 316581 h 2960686"/>
              <a:gd name="connsiteX10" fmla="*/ 316581 w 2228035"/>
              <a:gd name="connsiteY10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28035" h="2960686">
                <a:moveTo>
                  <a:pt x="316581" y="0"/>
                </a:moveTo>
                <a:lnTo>
                  <a:pt x="1911454" y="0"/>
                </a:lnTo>
                <a:cubicBezTo>
                  <a:pt x="2086297" y="0"/>
                  <a:pt x="2228035" y="141738"/>
                  <a:pt x="2228035" y="316581"/>
                </a:cubicBezTo>
                <a:lnTo>
                  <a:pt x="2228035" y="1760537"/>
                </a:lnTo>
                <a:lnTo>
                  <a:pt x="2228035" y="2644106"/>
                </a:lnTo>
                <a:lnTo>
                  <a:pt x="2228035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</p:spTree>
    <p:extLst>
      <p:ext uri="{BB962C8B-B14F-4D97-AF65-F5344CB8AC3E}">
        <p14:creationId xmlns:p14="http://schemas.microsoft.com/office/powerpoint/2010/main" val="409213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Bilder Inhalt Farbfläch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ihandform: Form 22">
            <a:extLst>
              <a:ext uri="{FF2B5EF4-FFF2-40B4-BE49-F238E27FC236}">
                <a16:creationId xmlns:a16="http://schemas.microsoft.com/office/drawing/2014/main" id="{42C1C417-C6A8-42BE-9910-2D37DC5D2A6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262360 w 12192000"/>
              <a:gd name="connsiteY3" fmla="*/ 6858000 h 6858000"/>
              <a:gd name="connsiteX4" fmla="*/ 11262360 w 12192000"/>
              <a:gd name="connsiteY4" fmla="*/ 3802297 h 6858000"/>
              <a:gd name="connsiteX5" fmla="*/ 10276288 w 12192000"/>
              <a:gd name="connsiteY5" fmla="*/ 2816225 h 6858000"/>
              <a:gd name="connsiteX6" fmla="*/ 0 w 12192000"/>
              <a:gd name="connsiteY6" fmla="*/ 281622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262360" y="6858000"/>
                </a:lnTo>
                <a:lnTo>
                  <a:pt x="11262360" y="3802297"/>
                </a:lnTo>
                <a:cubicBezTo>
                  <a:pt x="11262360" y="3257704"/>
                  <a:pt x="10820881" y="2816225"/>
                  <a:pt x="10276288" y="2816225"/>
                </a:cubicBezTo>
                <a:lnTo>
                  <a:pt x="0" y="2816225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78833B7C-624A-4366-B73C-BA06FB92685A}"/>
              </a:ext>
            </a:extLst>
          </p:cNvPr>
          <p:cNvSpPr/>
          <p:nvPr userDrawn="1"/>
        </p:nvSpPr>
        <p:spPr>
          <a:xfrm>
            <a:off x="-10930" y="2601380"/>
            <a:ext cx="11503732" cy="4267200"/>
          </a:xfrm>
          <a:custGeom>
            <a:avLst/>
            <a:gdLst>
              <a:gd name="connsiteX0" fmla="*/ 0 w 11503732"/>
              <a:gd name="connsiteY0" fmla="*/ 0 h 4267200"/>
              <a:gd name="connsiteX1" fmla="*/ 10297224 w 11503732"/>
              <a:gd name="connsiteY1" fmla="*/ 0 h 4267200"/>
              <a:gd name="connsiteX2" fmla="*/ 11503732 w 11503732"/>
              <a:gd name="connsiteY2" fmla="*/ 1206508 h 4267200"/>
              <a:gd name="connsiteX3" fmla="*/ 11503732 w 11503732"/>
              <a:gd name="connsiteY3" fmla="*/ 4267200 h 4267200"/>
              <a:gd name="connsiteX4" fmla="*/ 0 w 11503732"/>
              <a:gd name="connsiteY4" fmla="*/ 426720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03732" h="4267200">
                <a:moveTo>
                  <a:pt x="0" y="0"/>
                </a:moveTo>
                <a:lnTo>
                  <a:pt x="10297224" y="0"/>
                </a:lnTo>
                <a:cubicBezTo>
                  <a:pt x="10963560" y="0"/>
                  <a:pt x="11503732" y="540172"/>
                  <a:pt x="11503732" y="1206508"/>
                </a:cubicBezTo>
                <a:lnTo>
                  <a:pt x="11503732" y="4267200"/>
                </a:lnTo>
                <a:lnTo>
                  <a:pt x="0" y="4267200"/>
                </a:ln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487488" y="1915370"/>
            <a:ext cx="2300287" cy="2126405"/>
          </a:xfrm>
          <a:prstGeom prst="round2SameRect">
            <a:avLst>
              <a:gd name="adj1" fmla="val 14427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4E6E7D95-E752-4938-A697-BF0079FA9A28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6" cy="635012"/>
          </a:xfrm>
        </p:grpSpPr>
        <p:sp>
          <p:nvSpPr>
            <p:cNvPr id="30" name="Oval 5">
              <a:extLst>
                <a:ext uri="{FF2B5EF4-FFF2-40B4-BE49-F238E27FC236}">
                  <a16:creationId xmlns:a16="http://schemas.microsoft.com/office/drawing/2014/main" id="{1D77E2A1-AC77-44E7-839B-CADFB8AA1A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607E5BD9-B18D-42DC-A03B-FFC59313D6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79A6C844-5DD2-409E-98B9-E19508E5FA87}"/>
                </a:ext>
              </a:extLst>
            </p:cNvPr>
            <p:cNvGrpSpPr/>
            <p:nvPr/>
          </p:nvGrpSpPr>
          <p:grpSpPr>
            <a:xfrm>
              <a:off x="1311217" y="1530579"/>
              <a:ext cx="1533582" cy="307590"/>
              <a:chOff x="3987943" y="2307132"/>
              <a:chExt cx="2607166" cy="522910"/>
            </a:xfrm>
          </p:grpSpPr>
          <p:sp>
            <p:nvSpPr>
              <p:cNvPr id="33" name="Freeform 7">
                <a:extLst>
                  <a:ext uri="{FF2B5EF4-FFF2-40B4-BE49-F238E27FC236}">
                    <a16:creationId xmlns:a16="http://schemas.microsoft.com/office/drawing/2014/main" id="{643D1AFD-B7D6-4A09-BFEB-A6E265C0EA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8">
                <a:extLst>
                  <a:ext uri="{FF2B5EF4-FFF2-40B4-BE49-F238E27FC236}">
                    <a16:creationId xmlns:a16="http://schemas.microsoft.com/office/drawing/2014/main" id="{40E33BC4-1E2D-4478-BF91-015ADA50B16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9">
                <a:extLst>
                  <a:ext uri="{FF2B5EF4-FFF2-40B4-BE49-F238E27FC236}">
                    <a16:creationId xmlns:a16="http://schemas.microsoft.com/office/drawing/2014/main" id="{B1369C83-92F5-4D60-B81D-1BA647CC02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0">
                <a:extLst>
                  <a:ext uri="{FF2B5EF4-FFF2-40B4-BE49-F238E27FC236}">
                    <a16:creationId xmlns:a16="http://schemas.microsoft.com/office/drawing/2014/main" id="{26C5AFE6-9457-47F3-A719-0D2F180FCD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1">
                <a:extLst>
                  <a:ext uri="{FF2B5EF4-FFF2-40B4-BE49-F238E27FC236}">
                    <a16:creationId xmlns:a16="http://schemas.microsoft.com/office/drawing/2014/main" id="{6EE3B5FE-7E51-4F77-8F4D-99C718E2FA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2">
                <a:extLst>
                  <a:ext uri="{FF2B5EF4-FFF2-40B4-BE49-F238E27FC236}">
                    <a16:creationId xmlns:a16="http://schemas.microsoft.com/office/drawing/2014/main" id="{4C62839E-3074-4973-814C-1B5157D823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3">
                <a:extLst>
                  <a:ext uri="{FF2B5EF4-FFF2-40B4-BE49-F238E27FC236}">
                    <a16:creationId xmlns:a16="http://schemas.microsoft.com/office/drawing/2014/main" id="{CBC551B8-B813-4181-B5A2-4FCDD7F799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4">
                <a:extLst>
                  <a:ext uri="{FF2B5EF4-FFF2-40B4-BE49-F238E27FC236}">
                    <a16:creationId xmlns:a16="http://schemas.microsoft.com/office/drawing/2014/main" id="{B4BC6E0C-B64B-45FC-BE32-87D981D4A3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5">
                <a:extLst>
                  <a:ext uri="{FF2B5EF4-FFF2-40B4-BE49-F238E27FC236}">
                    <a16:creationId xmlns:a16="http://schemas.microsoft.com/office/drawing/2014/main" id="{A8A873D6-99AD-4B9F-925C-0040680E39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6">
                <a:extLst>
                  <a:ext uri="{FF2B5EF4-FFF2-40B4-BE49-F238E27FC236}">
                    <a16:creationId xmlns:a16="http://schemas.microsoft.com/office/drawing/2014/main" id="{E6FE9E62-9925-40BD-83DB-748F8A9258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44" name="Bildplatzhalter 43">
            <a:extLst>
              <a:ext uri="{FF2B5EF4-FFF2-40B4-BE49-F238E27FC236}">
                <a16:creationId xmlns:a16="http://schemas.microsoft.com/office/drawing/2014/main" id="{2CF2BA29-B1F5-4E1C-915D-7F4FC6184988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4943475" y="1915370"/>
            <a:ext cx="2300287" cy="2126405"/>
          </a:xfrm>
          <a:prstGeom prst="round2SameRect">
            <a:avLst>
              <a:gd name="adj1" fmla="val 14427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5" name="Bildplatzhalter 44">
            <a:extLst>
              <a:ext uri="{FF2B5EF4-FFF2-40B4-BE49-F238E27FC236}">
                <a16:creationId xmlns:a16="http://schemas.microsoft.com/office/drawing/2014/main" id="{B7C45DC4-51D5-44A9-817E-78B83E5B082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8399462" y="1915370"/>
            <a:ext cx="2300287" cy="2126405"/>
          </a:xfrm>
          <a:prstGeom prst="round2SameRect">
            <a:avLst>
              <a:gd name="adj1" fmla="val 14427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95AA77A-1C06-4D07-8794-FCA3B043B958}"/>
              </a:ext>
            </a:extLst>
          </p:cNvPr>
          <p:cNvSpPr>
            <a:spLocks noGrp="1"/>
          </p:cNvSpPr>
          <p:nvPr>
            <p:ph type="dt" sz="half" idx="22"/>
          </p:nvPr>
        </p:nvSpPr>
        <p:spPr>
          <a:xfrm>
            <a:off x="11160919" y="6991314"/>
            <a:ext cx="457993" cy="101671"/>
          </a:xfrm>
        </p:spPr>
        <p:txBody>
          <a:bodyPr/>
          <a:lstStyle/>
          <a:p>
            <a:pPr algn="r"/>
            <a:fld id="{00C42B3E-B5E1-4422-BB09-635C6BE6D3D7}" type="datetime1">
              <a:rPr lang="de-DE" smtClean="0"/>
              <a:t>2022-01-1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DD25278-5920-4203-8EF2-E38D0AAB249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8401051" y="6991314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92D9BE3-5B6C-4092-94F4-64CE9C9872B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11725538" y="6991314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6" name="Untertitel 2">
            <a:extLst>
              <a:ext uri="{FF2B5EF4-FFF2-40B4-BE49-F238E27FC236}">
                <a16:creationId xmlns:a16="http://schemas.microsoft.com/office/drawing/2014/main" id="{7CA9ED3C-F856-4B24-AFF5-BF7401C1E85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47" name="Textplatzhalter 8">
            <a:extLst>
              <a:ext uri="{FF2B5EF4-FFF2-40B4-BE49-F238E27FC236}">
                <a16:creationId xmlns:a16="http://schemas.microsoft.com/office/drawing/2014/main" id="{AFC3C4AA-3F1C-4900-8CC8-05E1684B691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487488" y="4300582"/>
            <a:ext cx="2300287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48" name="Textplatzhalter 16">
            <a:extLst>
              <a:ext uri="{FF2B5EF4-FFF2-40B4-BE49-F238E27FC236}">
                <a16:creationId xmlns:a16="http://schemas.microsoft.com/office/drawing/2014/main" id="{42B1AC03-AF2D-4961-A025-D2BE129137F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487488" y="4713288"/>
            <a:ext cx="2300287" cy="156051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4" name="Textplatzhalter 16">
            <a:extLst>
              <a:ext uri="{FF2B5EF4-FFF2-40B4-BE49-F238E27FC236}">
                <a16:creationId xmlns:a16="http://schemas.microsoft.com/office/drawing/2014/main" id="{714DE5B4-49A1-4374-973F-80057B9B0DA7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943475" y="4713288"/>
            <a:ext cx="2300287" cy="156051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5" name="Textplatzhalter 8">
            <a:extLst>
              <a:ext uri="{FF2B5EF4-FFF2-40B4-BE49-F238E27FC236}">
                <a16:creationId xmlns:a16="http://schemas.microsoft.com/office/drawing/2014/main" id="{8646398D-4AC5-42B0-9613-838125C948F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943475" y="4300582"/>
            <a:ext cx="2300287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56" name="Textplatzhalter 8">
            <a:extLst>
              <a:ext uri="{FF2B5EF4-FFF2-40B4-BE49-F238E27FC236}">
                <a16:creationId xmlns:a16="http://schemas.microsoft.com/office/drawing/2014/main" id="{504B4414-BCD5-4F71-A43E-B3CA8DBA447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399462" y="4300582"/>
            <a:ext cx="2300287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57" name="Textplatzhalter 16">
            <a:extLst>
              <a:ext uri="{FF2B5EF4-FFF2-40B4-BE49-F238E27FC236}">
                <a16:creationId xmlns:a16="http://schemas.microsoft.com/office/drawing/2014/main" id="{4D09590D-D2C1-44AF-ACAC-0188061A4924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399462" y="4713288"/>
            <a:ext cx="2300287" cy="156051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95446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Bilder Inhalt Farbfläch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ihandform: Form 22">
            <a:extLst>
              <a:ext uri="{FF2B5EF4-FFF2-40B4-BE49-F238E27FC236}">
                <a16:creationId xmlns:a16="http://schemas.microsoft.com/office/drawing/2014/main" id="{42C1C417-C6A8-42BE-9910-2D37DC5D2A6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262360 w 12192000"/>
              <a:gd name="connsiteY3" fmla="*/ 6858000 h 6858000"/>
              <a:gd name="connsiteX4" fmla="*/ 11262360 w 12192000"/>
              <a:gd name="connsiteY4" fmla="*/ 3802297 h 6858000"/>
              <a:gd name="connsiteX5" fmla="*/ 10276288 w 12192000"/>
              <a:gd name="connsiteY5" fmla="*/ 2816225 h 6858000"/>
              <a:gd name="connsiteX6" fmla="*/ 0 w 12192000"/>
              <a:gd name="connsiteY6" fmla="*/ 281622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262360" y="6858000"/>
                </a:lnTo>
                <a:lnTo>
                  <a:pt x="11262360" y="3802297"/>
                </a:lnTo>
                <a:cubicBezTo>
                  <a:pt x="11262360" y="3257704"/>
                  <a:pt x="10820881" y="2816225"/>
                  <a:pt x="10276288" y="2816225"/>
                </a:cubicBezTo>
                <a:lnTo>
                  <a:pt x="0" y="2816225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78833B7C-624A-4366-B73C-BA06FB92685A}"/>
              </a:ext>
            </a:extLst>
          </p:cNvPr>
          <p:cNvSpPr/>
          <p:nvPr userDrawn="1"/>
        </p:nvSpPr>
        <p:spPr>
          <a:xfrm>
            <a:off x="-10930" y="2601380"/>
            <a:ext cx="11503732" cy="4267200"/>
          </a:xfrm>
          <a:custGeom>
            <a:avLst/>
            <a:gdLst>
              <a:gd name="connsiteX0" fmla="*/ 0 w 11503732"/>
              <a:gd name="connsiteY0" fmla="*/ 0 h 4267200"/>
              <a:gd name="connsiteX1" fmla="*/ 10297224 w 11503732"/>
              <a:gd name="connsiteY1" fmla="*/ 0 h 4267200"/>
              <a:gd name="connsiteX2" fmla="*/ 11503732 w 11503732"/>
              <a:gd name="connsiteY2" fmla="*/ 1206508 h 4267200"/>
              <a:gd name="connsiteX3" fmla="*/ 11503732 w 11503732"/>
              <a:gd name="connsiteY3" fmla="*/ 4267200 h 4267200"/>
              <a:gd name="connsiteX4" fmla="*/ 0 w 11503732"/>
              <a:gd name="connsiteY4" fmla="*/ 426720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03732" h="4267200">
                <a:moveTo>
                  <a:pt x="0" y="0"/>
                </a:moveTo>
                <a:lnTo>
                  <a:pt x="10297224" y="0"/>
                </a:lnTo>
                <a:cubicBezTo>
                  <a:pt x="10963560" y="0"/>
                  <a:pt x="11503732" y="540172"/>
                  <a:pt x="11503732" y="1206508"/>
                </a:cubicBezTo>
                <a:lnTo>
                  <a:pt x="11503732" y="4267200"/>
                </a:lnTo>
                <a:lnTo>
                  <a:pt x="0" y="4267200"/>
                </a:ln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487488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4E6E7D95-E752-4938-A697-BF0079FA9A28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6" cy="635012"/>
          </a:xfrm>
        </p:grpSpPr>
        <p:sp>
          <p:nvSpPr>
            <p:cNvPr id="30" name="Oval 5">
              <a:extLst>
                <a:ext uri="{FF2B5EF4-FFF2-40B4-BE49-F238E27FC236}">
                  <a16:creationId xmlns:a16="http://schemas.microsoft.com/office/drawing/2014/main" id="{1D77E2A1-AC77-44E7-839B-CADFB8AA1A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607E5BD9-B18D-42DC-A03B-FFC59313D6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79A6C844-5DD2-409E-98B9-E19508E5FA87}"/>
                </a:ext>
              </a:extLst>
            </p:cNvPr>
            <p:cNvGrpSpPr/>
            <p:nvPr/>
          </p:nvGrpSpPr>
          <p:grpSpPr>
            <a:xfrm>
              <a:off x="1311217" y="1530579"/>
              <a:ext cx="1533582" cy="307590"/>
              <a:chOff x="3987943" y="2307132"/>
              <a:chExt cx="2607166" cy="522910"/>
            </a:xfrm>
          </p:grpSpPr>
          <p:sp>
            <p:nvSpPr>
              <p:cNvPr id="33" name="Freeform 7">
                <a:extLst>
                  <a:ext uri="{FF2B5EF4-FFF2-40B4-BE49-F238E27FC236}">
                    <a16:creationId xmlns:a16="http://schemas.microsoft.com/office/drawing/2014/main" id="{643D1AFD-B7D6-4A09-BFEB-A6E265C0EA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8">
                <a:extLst>
                  <a:ext uri="{FF2B5EF4-FFF2-40B4-BE49-F238E27FC236}">
                    <a16:creationId xmlns:a16="http://schemas.microsoft.com/office/drawing/2014/main" id="{40E33BC4-1E2D-4478-BF91-015ADA50B16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9">
                <a:extLst>
                  <a:ext uri="{FF2B5EF4-FFF2-40B4-BE49-F238E27FC236}">
                    <a16:creationId xmlns:a16="http://schemas.microsoft.com/office/drawing/2014/main" id="{B1369C83-92F5-4D60-B81D-1BA647CC02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0">
                <a:extLst>
                  <a:ext uri="{FF2B5EF4-FFF2-40B4-BE49-F238E27FC236}">
                    <a16:creationId xmlns:a16="http://schemas.microsoft.com/office/drawing/2014/main" id="{26C5AFE6-9457-47F3-A719-0D2F180FCD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1">
                <a:extLst>
                  <a:ext uri="{FF2B5EF4-FFF2-40B4-BE49-F238E27FC236}">
                    <a16:creationId xmlns:a16="http://schemas.microsoft.com/office/drawing/2014/main" id="{6EE3B5FE-7E51-4F77-8F4D-99C718E2FA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2">
                <a:extLst>
                  <a:ext uri="{FF2B5EF4-FFF2-40B4-BE49-F238E27FC236}">
                    <a16:creationId xmlns:a16="http://schemas.microsoft.com/office/drawing/2014/main" id="{4C62839E-3074-4973-814C-1B5157D823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3">
                <a:extLst>
                  <a:ext uri="{FF2B5EF4-FFF2-40B4-BE49-F238E27FC236}">
                    <a16:creationId xmlns:a16="http://schemas.microsoft.com/office/drawing/2014/main" id="{CBC551B8-B813-4181-B5A2-4FCDD7F799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4">
                <a:extLst>
                  <a:ext uri="{FF2B5EF4-FFF2-40B4-BE49-F238E27FC236}">
                    <a16:creationId xmlns:a16="http://schemas.microsoft.com/office/drawing/2014/main" id="{B4BC6E0C-B64B-45FC-BE32-87D981D4A3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5">
                <a:extLst>
                  <a:ext uri="{FF2B5EF4-FFF2-40B4-BE49-F238E27FC236}">
                    <a16:creationId xmlns:a16="http://schemas.microsoft.com/office/drawing/2014/main" id="{A8A873D6-99AD-4B9F-925C-0040680E39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6">
                <a:extLst>
                  <a:ext uri="{FF2B5EF4-FFF2-40B4-BE49-F238E27FC236}">
                    <a16:creationId xmlns:a16="http://schemas.microsoft.com/office/drawing/2014/main" id="{E6FE9E62-9925-40BD-83DB-748F8A9258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50" name="Bildplatzhalter 49">
            <a:extLst>
              <a:ext uri="{FF2B5EF4-FFF2-40B4-BE49-F238E27FC236}">
                <a16:creationId xmlns:a16="http://schemas.microsoft.com/office/drawing/2014/main" id="{3EE30A50-6C25-44D7-942F-A1D692F5DDE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4001642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51" name="Bildplatzhalter 50">
            <a:extLst>
              <a:ext uri="{FF2B5EF4-FFF2-40B4-BE49-F238E27FC236}">
                <a16:creationId xmlns:a16="http://schemas.microsoft.com/office/drawing/2014/main" id="{4C754E0D-D00D-406A-ABB1-2BC23994F8BF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515796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52" name="Bildplatzhalter 51">
            <a:extLst>
              <a:ext uri="{FF2B5EF4-FFF2-40B4-BE49-F238E27FC236}">
                <a16:creationId xmlns:a16="http://schemas.microsoft.com/office/drawing/2014/main" id="{E86ED2C5-07F4-4D71-ABCD-26E63A679F6E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9031105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51A2BA7-048B-4652-9F13-266927BA0590}"/>
              </a:ext>
            </a:extLst>
          </p:cNvPr>
          <p:cNvSpPr>
            <a:spLocks noGrp="1"/>
          </p:cNvSpPr>
          <p:nvPr>
            <p:ph type="dt" sz="half" idx="27"/>
          </p:nvPr>
        </p:nvSpPr>
        <p:spPr>
          <a:xfrm>
            <a:off x="11160919" y="7065971"/>
            <a:ext cx="457993" cy="101671"/>
          </a:xfrm>
        </p:spPr>
        <p:txBody>
          <a:bodyPr/>
          <a:lstStyle/>
          <a:p>
            <a:pPr algn="r"/>
            <a:fld id="{EDEF9BE1-4434-4BD3-AE89-3CE91D0532C3}" type="datetime1">
              <a:rPr lang="de-DE" smtClean="0"/>
              <a:t>2022-01-1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8EE3B0B-3CCF-427F-AEAB-8D00A76E7729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>
          <a:xfrm>
            <a:off x="8401051" y="7065971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BFF838C-BDC9-42AC-8249-5DDDCE8081A2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>
          <a:xfrm>
            <a:off x="11725538" y="7065971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6" name="Untertitel 2">
            <a:extLst>
              <a:ext uri="{FF2B5EF4-FFF2-40B4-BE49-F238E27FC236}">
                <a16:creationId xmlns:a16="http://schemas.microsoft.com/office/drawing/2014/main" id="{68B98F02-88B6-43DA-850B-E541AC1D4D2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48" name="Textplatzhalter 8">
            <a:extLst>
              <a:ext uri="{FF2B5EF4-FFF2-40B4-BE49-F238E27FC236}">
                <a16:creationId xmlns:a16="http://schemas.microsoft.com/office/drawing/2014/main" id="{9360EC0E-52DA-46BB-8F53-69EA746ED69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487489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53" name="Textplatzhalter 16">
            <a:extLst>
              <a:ext uri="{FF2B5EF4-FFF2-40B4-BE49-F238E27FC236}">
                <a16:creationId xmlns:a16="http://schemas.microsoft.com/office/drawing/2014/main" id="{C51A8DC6-8327-4FD2-9447-FBB09787E530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1487489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4" name="Textplatzhalter 8">
            <a:extLst>
              <a:ext uri="{FF2B5EF4-FFF2-40B4-BE49-F238E27FC236}">
                <a16:creationId xmlns:a16="http://schemas.microsoft.com/office/drawing/2014/main" id="{C9D582C2-6062-46AF-89D2-952BF18A713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001642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55" name="Textplatzhalter 16">
            <a:extLst>
              <a:ext uri="{FF2B5EF4-FFF2-40B4-BE49-F238E27FC236}">
                <a16:creationId xmlns:a16="http://schemas.microsoft.com/office/drawing/2014/main" id="{BBF4CD8E-6624-4CD4-AB24-1B4FC7155A6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001642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9" name="Textplatzhalter 8">
            <a:extLst>
              <a:ext uri="{FF2B5EF4-FFF2-40B4-BE49-F238E27FC236}">
                <a16:creationId xmlns:a16="http://schemas.microsoft.com/office/drawing/2014/main" id="{31683E52-D1AD-4EA2-9A0A-6B9EE1EE825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515796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60" name="Textplatzhalter 16">
            <a:extLst>
              <a:ext uri="{FF2B5EF4-FFF2-40B4-BE49-F238E27FC236}">
                <a16:creationId xmlns:a16="http://schemas.microsoft.com/office/drawing/2014/main" id="{C1DBBB8A-1E3A-4CC1-A0A2-1E4A8A60CB9A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515796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1" name="Textplatzhalter 8">
            <a:extLst>
              <a:ext uri="{FF2B5EF4-FFF2-40B4-BE49-F238E27FC236}">
                <a16:creationId xmlns:a16="http://schemas.microsoft.com/office/drawing/2014/main" id="{3967A4B6-B907-4CB8-AEE2-CA351AD98D4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031105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4</a:t>
            </a:r>
          </a:p>
        </p:txBody>
      </p:sp>
      <p:sp>
        <p:nvSpPr>
          <p:cNvPr id="62" name="Textplatzhalter 16">
            <a:extLst>
              <a:ext uri="{FF2B5EF4-FFF2-40B4-BE49-F238E27FC236}">
                <a16:creationId xmlns:a16="http://schemas.microsoft.com/office/drawing/2014/main" id="{E2A9C62B-3D57-48F1-9E4D-1F14F60B93ED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9031105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420956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Freihandform: Form 26">
            <a:extLst>
              <a:ext uri="{FF2B5EF4-FFF2-40B4-BE49-F238E27FC236}">
                <a16:creationId xmlns:a16="http://schemas.microsoft.com/office/drawing/2014/main" id="{CB70B032-9547-48B0-ACB3-773CE114E0D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191998 w 12192000"/>
              <a:gd name="connsiteY3" fmla="*/ 6858000 h 6858000"/>
              <a:gd name="connsiteX4" fmla="*/ 12191998 w 12192000"/>
              <a:gd name="connsiteY4" fmla="*/ 3429000 h 6858000"/>
              <a:gd name="connsiteX5" fmla="*/ 8518560 w 12192000"/>
              <a:gd name="connsiteY5" fmla="*/ 3429000 h 6858000"/>
              <a:gd name="connsiteX6" fmla="*/ 7608881 w 12192000"/>
              <a:gd name="connsiteY6" fmla="*/ 4338679 h 6858000"/>
              <a:gd name="connsiteX7" fmla="*/ 7608881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91998" y="6858000"/>
                </a:lnTo>
                <a:lnTo>
                  <a:pt x="12191998" y="3429000"/>
                </a:lnTo>
                <a:lnTo>
                  <a:pt x="8518560" y="3429000"/>
                </a:lnTo>
                <a:cubicBezTo>
                  <a:pt x="8016158" y="3429000"/>
                  <a:pt x="7608881" y="3836277"/>
                  <a:pt x="7608881" y="4338679"/>
                </a:cubicBezTo>
                <a:lnTo>
                  <a:pt x="760888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8" name="Rechteck: eine Ecke abgerundet 27">
            <a:extLst>
              <a:ext uri="{FF2B5EF4-FFF2-40B4-BE49-F238E27FC236}">
                <a16:creationId xmlns:a16="http://schemas.microsoft.com/office/drawing/2014/main" id="{3EF3FAAE-2B48-4C5E-AECA-407D5B2D8050}"/>
              </a:ext>
            </a:extLst>
          </p:cNvPr>
          <p:cNvSpPr/>
          <p:nvPr userDrawn="1"/>
        </p:nvSpPr>
        <p:spPr>
          <a:xfrm flipH="1">
            <a:off x="7859179" y="3253843"/>
            <a:ext cx="4343397" cy="3614737"/>
          </a:xfrm>
          <a:prstGeom prst="round1Rect">
            <a:avLst>
              <a:gd name="adj" fmla="val 2652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35A3BE85-32C1-41ED-8590-D005944BBED9}"/>
              </a:ext>
            </a:extLst>
          </p:cNvPr>
          <p:cNvGrpSpPr/>
          <p:nvPr userDrawn="1"/>
        </p:nvGrpSpPr>
        <p:grpSpPr>
          <a:xfrm>
            <a:off x="1487489" y="1592263"/>
            <a:ext cx="2961647" cy="790184"/>
            <a:chOff x="464743" y="1368699"/>
            <a:chExt cx="2380058" cy="635012"/>
          </a:xfrm>
        </p:grpSpPr>
        <p:sp>
          <p:nvSpPr>
            <p:cNvPr id="30" name="Oval 5">
              <a:extLst>
                <a:ext uri="{FF2B5EF4-FFF2-40B4-BE49-F238E27FC236}">
                  <a16:creationId xmlns:a16="http://schemas.microsoft.com/office/drawing/2014/main" id="{1CD00986-D9D7-428D-8EE2-B69E9855DE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CAE2FFA1-270A-457B-978C-9C18535ECC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41EDA88F-74B5-4E03-9F1F-7C6F6D979DAD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33" name="Freeform 7">
                <a:extLst>
                  <a:ext uri="{FF2B5EF4-FFF2-40B4-BE49-F238E27FC236}">
                    <a16:creationId xmlns:a16="http://schemas.microsoft.com/office/drawing/2014/main" id="{594657D7-7BEB-4DC8-A5EE-424517F4A5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8">
                <a:extLst>
                  <a:ext uri="{FF2B5EF4-FFF2-40B4-BE49-F238E27FC236}">
                    <a16:creationId xmlns:a16="http://schemas.microsoft.com/office/drawing/2014/main" id="{14F6CA1C-C9C1-4462-B670-091989EE0B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9">
                <a:extLst>
                  <a:ext uri="{FF2B5EF4-FFF2-40B4-BE49-F238E27FC236}">
                    <a16:creationId xmlns:a16="http://schemas.microsoft.com/office/drawing/2014/main" id="{AD691704-76C6-4000-8FB0-A746D1B559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0">
                <a:extLst>
                  <a:ext uri="{FF2B5EF4-FFF2-40B4-BE49-F238E27FC236}">
                    <a16:creationId xmlns:a16="http://schemas.microsoft.com/office/drawing/2014/main" id="{7688B688-C68E-4FE2-B0B5-C0DD1A1A6A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1">
                <a:extLst>
                  <a:ext uri="{FF2B5EF4-FFF2-40B4-BE49-F238E27FC236}">
                    <a16:creationId xmlns:a16="http://schemas.microsoft.com/office/drawing/2014/main" id="{933B3614-1495-456C-8ACA-436A58875A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2">
                <a:extLst>
                  <a:ext uri="{FF2B5EF4-FFF2-40B4-BE49-F238E27FC236}">
                    <a16:creationId xmlns:a16="http://schemas.microsoft.com/office/drawing/2014/main" id="{AC3466E6-C141-413F-9CAD-4FE8537191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3">
                <a:extLst>
                  <a:ext uri="{FF2B5EF4-FFF2-40B4-BE49-F238E27FC236}">
                    <a16:creationId xmlns:a16="http://schemas.microsoft.com/office/drawing/2014/main" id="{D3D4B22D-6EF7-4D0F-A3BB-5F9791F351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4">
                <a:extLst>
                  <a:ext uri="{FF2B5EF4-FFF2-40B4-BE49-F238E27FC236}">
                    <a16:creationId xmlns:a16="http://schemas.microsoft.com/office/drawing/2014/main" id="{52243236-17D3-489D-B36A-66F7F8C9BE1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5">
                <a:extLst>
                  <a:ext uri="{FF2B5EF4-FFF2-40B4-BE49-F238E27FC236}">
                    <a16:creationId xmlns:a16="http://schemas.microsoft.com/office/drawing/2014/main" id="{67D7E1C2-3873-44E2-8A6F-F56E2789EA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3" name="Freeform 16">
                <a:extLst>
                  <a:ext uri="{FF2B5EF4-FFF2-40B4-BE49-F238E27FC236}">
                    <a16:creationId xmlns:a16="http://schemas.microsoft.com/office/drawing/2014/main" id="{C5FF1A6B-B6B7-4A45-B919-B552817464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44" name="Untertitel 2">
            <a:extLst>
              <a:ext uri="{FF2B5EF4-FFF2-40B4-BE49-F238E27FC236}">
                <a16:creationId xmlns:a16="http://schemas.microsoft.com/office/drawing/2014/main" id="{AECB41C7-7396-4C6D-9194-4C8205DFEE5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1487488" y="3731319"/>
            <a:ext cx="4608513" cy="555166"/>
          </a:xfrm>
        </p:spPr>
        <p:txBody>
          <a:bodyPr anchor="t"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latin typeface="+mj-lt"/>
              </a:defRPr>
            </a:lvl5pPr>
            <a:lvl6pPr marL="0" indent="0" algn="l">
              <a:buNone/>
              <a:defRPr sz="1600">
                <a:latin typeface="+mj-lt"/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1600">
                <a:latin typeface="+mj-lt"/>
              </a:defRPr>
            </a:lvl8pPr>
            <a:lvl9pPr marL="0" indent="0" algn="l">
              <a:buNone/>
              <a:defRPr sz="1600">
                <a:latin typeface="+mj-lt"/>
              </a:defRPr>
            </a:lvl9pPr>
          </a:lstStyle>
          <a:p>
            <a:pPr lvl="0"/>
            <a:r>
              <a:rPr lang="de-DE"/>
              <a:t>Ansprechpartner</a:t>
            </a:r>
          </a:p>
        </p:txBody>
      </p:sp>
      <p:sp>
        <p:nvSpPr>
          <p:cNvPr id="45" name="Datumsplatzhalter 2">
            <a:extLst>
              <a:ext uri="{FF2B5EF4-FFF2-40B4-BE49-F238E27FC236}">
                <a16:creationId xmlns:a16="http://schemas.microsoft.com/office/drawing/2014/main" id="{5C65CDD3-31CA-4B03-9D13-CA2FD24CDEF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160919" y="6991314"/>
            <a:ext cx="457993" cy="101671"/>
          </a:xfrm>
        </p:spPr>
        <p:txBody>
          <a:bodyPr/>
          <a:lstStyle/>
          <a:p>
            <a:pPr algn="r"/>
            <a:fld id="{10642C8A-F7FD-46B6-A23C-87BC505ACD5C}" type="datetime1">
              <a:rPr lang="de-DE" smtClean="0"/>
              <a:t>2022-01-13</a:t>
            </a:fld>
            <a:endParaRPr lang="de-DE"/>
          </a:p>
        </p:txBody>
      </p:sp>
      <p:sp>
        <p:nvSpPr>
          <p:cNvPr id="46" name="Fußzeilenplatzhalter 3">
            <a:extLst>
              <a:ext uri="{FF2B5EF4-FFF2-40B4-BE49-F238E27FC236}">
                <a16:creationId xmlns:a16="http://schemas.microsoft.com/office/drawing/2014/main" id="{4ACEEDEE-8D8A-4224-A014-B68A3C73B3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401051" y="6991314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47" name="Foliennummernplatzhalter 5">
            <a:extLst>
              <a:ext uri="{FF2B5EF4-FFF2-40B4-BE49-F238E27FC236}">
                <a16:creationId xmlns:a16="http://schemas.microsoft.com/office/drawing/2014/main" id="{B2357643-3032-430B-B309-5764553A8C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25538" y="6991314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8" name="Textfeld 47">
            <a:extLst>
              <a:ext uri="{FF2B5EF4-FFF2-40B4-BE49-F238E27FC236}">
                <a16:creationId xmlns:a16="http://schemas.microsoft.com/office/drawing/2014/main" id="{3E295932-9950-4AC4-BD57-14B3AD9D6745}"/>
              </a:ext>
            </a:extLst>
          </p:cNvPr>
          <p:cNvSpPr txBox="1">
            <a:spLocks/>
          </p:cNvSpPr>
          <p:nvPr userDrawn="1"/>
        </p:nvSpPr>
        <p:spPr>
          <a:xfrm>
            <a:off x="1487489" y="2825750"/>
            <a:ext cx="4608514" cy="1216025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lvl1pPr lvl="0">
              <a:lnSpc>
                <a:spcPct val="80000"/>
              </a:lnSpc>
              <a:spcBef>
                <a:spcPct val="0"/>
              </a:spcBef>
              <a:buNone/>
              <a:defRPr lang="de-DE" sz="5400" baseline="0" dirty="0">
                <a:latin typeface="Officina Sans ITC Pro Medium" panose="020C0606030503020204" pitchFamily="34" charset="0"/>
                <a:ea typeface="Inter Medium" panose="020B0502030000000004" pitchFamily="34" charset="0"/>
              </a:defRPr>
            </a:lvl1pPr>
            <a:lvl2pPr>
              <a:lnSpc>
                <a:spcPct val="80000"/>
              </a:lnSpc>
              <a:defRPr sz="5400" baseline="0">
                <a:latin typeface="+mj-lt"/>
              </a:defRPr>
            </a:lvl2pPr>
            <a:lvl3pPr>
              <a:lnSpc>
                <a:spcPct val="80000"/>
              </a:lnSpc>
              <a:defRPr sz="5400" baseline="0">
                <a:latin typeface="+mj-lt"/>
              </a:defRPr>
            </a:lvl3pPr>
            <a:lvl4pPr>
              <a:lnSpc>
                <a:spcPct val="80000"/>
              </a:lnSpc>
              <a:defRPr sz="5400" b="0" baseline="0">
                <a:latin typeface="+mj-lt"/>
              </a:defRPr>
            </a:lvl4pPr>
            <a:lvl5pPr>
              <a:lnSpc>
                <a:spcPct val="80000"/>
              </a:lnSpc>
              <a:defRPr sz="5400" baseline="0">
                <a:latin typeface="+mj-lt"/>
              </a:defRPr>
            </a:lvl5pPr>
            <a:lvl6pPr>
              <a:lnSpc>
                <a:spcPct val="80000"/>
              </a:lnSpc>
              <a:defRPr sz="5400" baseline="0">
                <a:latin typeface="+mj-lt"/>
              </a:defRPr>
            </a:lvl6pPr>
            <a:lvl7pPr>
              <a:lnSpc>
                <a:spcPct val="80000"/>
              </a:lnSpc>
              <a:defRPr sz="5400" baseline="0">
                <a:latin typeface="+mj-lt"/>
              </a:defRPr>
            </a:lvl7pPr>
            <a:lvl8pPr>
              <a:lnSpc>
                <a:spcPct val="80000"/>
              </a:lnSpc>
              <a:defRPr sz="5400" baseline="0">
                <a:latin typeface="+mj-lt"/>
              </a:defRPr>
            </a:lvl8pPr>
            <a:lvl9pPr>
              <a:lnSpc>
                <a:spcPct val="80000"/>
              </a:lnSpc>
              <a:defRPr sz="5400" baseline="0">
                <a:latin typeface="+mj-lt"/>
              </a:defRPr>
            </a:lvl9pPr>
          </a:lstStyle>
          <a:p>
            <a:pPr lvl="0"/>
            <a:r>
              <a:rPr lang="de-DE" noProof="0"/>
              <a:t>Kontakt</a:t>
            </a:r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7248AC69-D52F-44EC-AF0F-654A28D401B9}"/>
              </a:ext>
            </a:extLst>
          </p:cNvPr>
          <p:cNvSpPr txBox="1">
            <a:spLocks/>
          </p:cNvSpPr>
          <p:nvPr userDrawn="1"/>
        </p:nvSpPr>
        <p:spPr>
          <a:xfrm>
            <a:off x="1487488" y="4286485"/>
            <a:ext cx="4608513" cy="189275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90000"/>
              <a:buFont typeface="Inter Semi Bold" panose="020B0702030000000004" pitchFamily="34" charset="0"/>
              <a:buNone/>
              <a:defRPr lang="de-DE" sz="1600" b="0" dirty="0">
                <a:latin typeface="+mj-lt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tabLst/>
              <a:defRPr sz="1600" b="0"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defRPr sz="1600" b="0">
                <a:latin typeface="+mj-lt"/>
              </a:defRPr>
            </a:lvl5pPr>
            <a:lvl6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8pPr>
            <a:lvl9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9pPr>
          </a:lstStyle>
          <a:p>
            <a:pPr lvl="0">
              <a:spcAft>
                <a:spcPts val="1200"/>
              </a:spcAft>
            </a:pPr>
            <a:r>
              <a:rPr lang="de-DE" noProof="0" err="1">
                <a:latin typeface="+mn-lt"/>
              </a:rPr>
              <a:t>LichtBlick</a:t>
            </a:r>
            <a:r>
              <a:rPr lang="de-DE" noProof="0">
                <a:latin typeface="+mn-lt"/>
              </a:rPr>
              <a:t> SE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Zirkusweg 6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20359 Hamburg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Telefon: 040-63 60 0</a:t>
            </a:r>
          </a:p>
          <a:p>
            <a:pPr lvl="0"/>
            <a:r>
              <a:rPr lang="de-DE" noProof="0">
                <a:latin typeface="+mn-lt"/>
              </a:rPr>
              <a:t>info@lichtblick.de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www.lichtblick.de</a:t>
            </a:r>
          </a:p>
        </p:txBody>
      </p:sp>
    </p:spTree>
    <p:extLst>
      <p:ext uri="{BB962C8B-B14F-4D97-AF65-F5344CB8AC3E}">
        <p14:creationId xmlns:p14="http://schemas.microsoft.com/office/powerpoint/2010/main" val="2765017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hteck 22">
            <a:extLst>
              <a:ext uri="{FF2B5EF4-FFF2-40B4-BE49-F238E27FC236}">
                <a16:creationId xmlns:a16="http://schemas.microsoft.com/office/drawing/2014/main" id="{954389BA-EBDB-40CF-9ED1-81C5AB52F37F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26" name="Bildplatzhalter 25">
            <a:extLst>
              <a:ext uri="{FF2B5EF4-FFF2-40B4-BE49-F238E27FC236}">
                <a16:creationId xmlns:a16="http://schemas.microsoft.com/office/drawing/2014/main" id="{815A5DA0-09BC-421E-AA22-5CE7B814373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401050 w 12192000"/>
              <a:gd name="connsiteY3" fmla="*/ 6858000 h 6858000"/>
              <a:gd name="connsiteX4" fmla="*/ 8401050 w 12192000"/>
              <a:gd name="connsiteY4" fmla="*/ 3420567 h 6858000"/>
              <a:gd name="connsiteX5" fmla="*/ 7164883 w 12192000"/>
              <a:gd name="connsiteY5" fmla="*/ 2184400 h 6858000"/>
              <a:gd name="connsiteX6" fmla="*/ 0 w 12192000"/>
              <a:gd name="connsiteY6" fmla="*/ 21844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401050" y="6858000"/>
                </a:lnTo>
                <a:lnTo>
                  <a:pt x="8401050" y="3420567"/>
                </a:lnTo>
                <a:cubicBezTo>
                  <a:pt x="8401050" y="2737851"/>
                  <a:pt x="7847599" y="2184400"/>
                  <a:pt x="7164883" y="2184400"/>
                </a:cubicBezTo>
                <a:lnTo>
                  <a:pt x="0" y="218440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F22D1C60-17A8-42B9-BEF2-62D475D27EC0}"/>
              </a:ext>
            </a:extLst>
          </p:cNvPr>
          <p:cNvGrpSpPr/>
          <p:nvPr userDrawn="1"/>
        </p:nvGrpSpPr>
        <p:grpSpPr>
          <a:xfrm>
            <a:off x="1487485" y="2887661"/>
            <a:ext cx="1512888" cy="403647"/>
            <a:chOff x="464743" y="1368699"/>
            <a:chExt cx="2380058" cy="635012"/>
          </a:xfrm>
        </p:grpSpPr>
        <p:sp>
          <p:nvSpPr>
            <p:cNvPr id="28" name="Oval 5">
              <a:extLst>
                <a:ext uri="{FF2B5EF4-FFF2-40B4-BE49-F238E27FC236}">
                  <a16:creationId xmlns:a16="http://schemas.microsoft.com/office/drawing/2014/main" id="{1041E06D-C9A5-4F97-8E9D-42CC29D6AE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914A7617-51A4-4DED-96CE-5B13DC223F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3" name="Gruppieren 32">
              <a:extLst>
                <a:ext uri="{FF2B5EF4-FFF2-40B4-BE49-F238E27FC236}">
                  <a16:creationId xmlns:a16="http://schemas.microsoft.com/office/drawing/2014/main" id="{E64A89A4-84BD-4FDF-97CB-1FEE2AD7D9D4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35" name="Freeform 7">
                <a:extLst>
                  <a:ext uri="{FF2B5EF4-FFF2-40B4-BE49-F238E27FC236}">
                    <a16:creationId xmlns:a16="http://schemas.microsoft.com/office/drawing/2014/main" id="{CAB8A0E0-343C-419C-AEDD-CE24D7D779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8">
                <a:extLst>
                  <a:ext uri="{FF2B5EF4-FFF2-40B4-BE49-F238E27FC236}">
                    <a16:creationId xmlns:a16="http://schemas.microsoft.com/office/drawing/2014/main" id="{21DDD0E6-054D-4483-98B8-E36652F552C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9">
                <a:extLst>
                  <a:ext uri="{FF2B5EF4-FFF2-40B4-BE49-F238E27FC236}">
                    <a16:creationId xmlns:a16="http://schemas.microsoft.com/office/drawing/2014/main" id="{086C3B2F-A61E-49F6-8101-95EFF02718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0">
                <a:extLst>
                  <a:ext uri="{FF2B5EF4-FFF2-40B4-BE49-F238E27FC236}">
                    <a16:creationId xmlns:a16="http://schemas.microsoft.com/office/drawing/2014/main" id="{9701EC43-1086-45FE-8113-AE53A121C8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1">
                <a:extLst>
                  <a:ext uri="{FF2B5EF4-FFF2-40B4-BE49-F238E27FC236}">
                    <a16:creationId xmlns:a16="http://schemas.microsoft.com/office/drawing/2014/main" id="{E2DA50DF-0753-4E76-9C65-A37262ED09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2">
                <a:extLst>
                  <a:ext uri="{FF2B5EF4-FFF2-40B4-BE49-F238E27FC236}">
                    <a16:creationId xmlns:a16="http://schemas.microsoft.com/office/drawing/2014/main" id="{F9528D5D-7E8A-49E8-835E-D9855832C23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3">
                <a:extLst>
                  <a:ext uri="{FF2B5EF4-FFF2-40B4-BE49-F238E27FC236}">
                    <a16:creationId xmlns:a16="http://schemas.microsoft.com/office/drawing/2014/main" id="{3999363A-AAB2-4377-9484-9D312C652B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4">
                <a:extLst>
                  <a:ext uri="{FF2B5EF4-FFF2-40B4-BE49-F238E27FC236}">
                    <a16:creationId xmlns:a16="http://schemas.microsoft.com/office/drawing/2014/main" id="{05A8FFB4-ACFE-47EC-95D9-C4379DF917D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3" name="Freeform 15">
                <a:extLst>
                  <a:ext uri="{FF2B5EF4-FFF2-40B4-BE49-F238E27FC236}">
                    <a16:creationId xmlns:a16="http://schemas.microsoft.com/office/drawing/2014/main" id="{CD0668DE-B26C-4FD0-8AA9-8542B9D4E1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4" name="Freeform 16">
                <a:extLst>
                  <a:ext uri="{FF2B5EF4-FFF2-40B4-BE49-F238E27FC236}">
                    <a16:creationId xmlns:a16="http://schemas.microsoft.com/office/drawing/2014/main" id="{FFC7A754-CEA1-4B09-9B25-6CFDB24B49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45" name="Datumsplatzhalter 2">
            <a:extLst>
              <a:ext uri="{FF2B5EF4-FFF2-40B4-BE49-F238E27FC236}">
                <a16:creationId xmlns:a16="http://schemas.microsoft.com/office/drawing/2014/main" id="{09735178-CFC8-462A-ACC8-36E3E308536C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11160919" y="7101333"/>
            <a:ext cx="457993" cy="101671"/>
          </a:xfrm>
        </p:spPr>
        <p:txBody>
          <a:bodyPr/>
          <a:lstStyle/>
          <a:p>
            <a:pPr algn="r"/>
            <a:fld id="{38B41AE2-729B-45AB-88D4-F90B826B8617}" type="datetime1">
              <a:rPr lang="de-DE" smtClean="0"/>
              <a:t>2022-01-13</a:t>
            </a:fld>
            <a:endParaRPr lang="de-DE"/>
          </a:p>
        </p:txBody>
      </p:sp>
      <p:sp>
        <p:nvSpPr>
          <p:cNvPr id="46" name="Fußzeilenplatzhalter 3">
            <a:extLst>
              <a:ext uri="{FF2B5EF4-FFF2-40B4-BE49-F238E27FC236}">
                <a16:creationId xmlns:a16="http://schemas.microsoft.com/office/drawing/2014/main" id="{62957B3B-9E2F-48F0-A9FA-C7187EA32B1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8401051" y="7101333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47" name="Foliennummernplatzhalter 4">
            <a:extLst>
              <a:ext uri="{FF2B5EF4-FFF2-40B4-BE49-F238E27FC236}">
                <a16:creationId xmlns:a16="http://schemas.microsoft.com/office/drawing/2014/main" id="{3F5D8E33-1B15-4493-B881-F834B82BD27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11725538" y="7101333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8" name="Untertitel 2">
            <a:extLst>
              <a:ext uri="{FF2B5EF4-FFF2-40B4-BE49-F238E27FC236}">
                <a16:creationId xmlns:a16="http://schemas.microsoft.com/office/drawing/2014/main" id="{77FF5120-DB42-4311-BAAD-80A5DE6E67A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1487485" y="4041776"/>
            <a:ext cx="4608513" cy="555166"/>
          </a:xfrm>
        </p:spPr>
        <p:txBody>
          <a:bodyPr anchor="t"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latin typeface="+mj-lt"/>
              </a:defRPr>
            </a:lvl5pPr>
            <a:lvl6pPr marL="0" indent="0" algn="l">
              <a:buNone/>
              <a:defRPr sz="1600">
                <a:latin typeface="+mj-lt"/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1600">
                <a:latin typeface="+mj-lt"/>
              </a:defRPr>
            </a:lvl8pPr>
            <a:lvl9pPr marL="0" indent="0" algn="l">
              <a:buNone/>
              <a:defRPr sz="1600">
                <a:latin typeface="+mj-lt"/>
              </a:defRPr>
            </a:lvl9pPr>
          </a:lstStyle>
          <a:p>
            <a:pPr lvl="0"/>
            <a:r>
              <a:rPr lang="de-DE"/>
              <a:t>Ansprechpartner</a:t>
            </a:r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7457A486-B0B2-41A4-9CEE-BC72E5299BE1}"/>
              </a:ext>
            </a:extLst>
          </p:cNvPr>
          <p:cNvSpPr txBox="1">
            <a:spLocks/>
          </p:cNvSpPr>
          <p:nvPr userDrawn="1"/>
        </p:nvSpPr>
        <p:spPr>
          <a:xfrm>
            <a:off x="1487486" y="3458633"/>
            <a:ext cx="4608514" cy="58314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lvl1pPr lvl="0">
              <a:lnSpc>
                <a:spcPct val="80000"/>
              </a:lnSpc>
              <a:spcBef>
                <a:spcPct val="0"/>
              </a:spcBef>
              <a:buNone/>
              <a:defRPr lang="de-DE" sz="5400" baseline="0" dirty="0">
                <a:latin typeface="Officina Sans ITC Pro Medium" panose="020C0606030503020204" pitchFamily="34" charset="0"/>
                <a:ea typeface="Inter Medium" panose="020B0502030000000004" pitchFamily="34" charset="0"/>
              </a:defRPr>
            </a:lvl1pPr>
            <a:lvl2pPr>
              <a:lnSpc>
                <a:spcPct val="80000"/>
              </a:lnSpc>
              <a:defRPr sz="5400" baseline="0">
                <a:latin typeface="+mj-lt"/>
              </a:defRPr>
            </a:lvl2pPr>
            <a:lvl3pPr>
              <a:lnSpc>
                <a:spcPct val="80000"/>
              </a:lnSpc>
              <a:defRPr sz="5400" baseline="0">
                <a:latin typeface="+mj-lt"/>
              </a:defRPr>
            </a:lvl3pPr>
            <a:lvl4pPr>
              <a:lnSpc>
                <a:spcPct val="80000"/>
              </a:lnSpc>
              <a:defRPr sz="5400" b="0" baseline="0">
                <a:latin typeface="+mj-lt"/>
              </a:defRPr>
            </a:lvl4pPr>
            <a:lvl5pPr>
              <a:lnSpc>
                <a:spcPct val="80000"/>
              </a:lnSpc>
              <a:defRPr sz="5400" baseline="0">
                <a:latin typeface="+mj-lt"/>
              </a:defRPr>
            </a:lvl5pPr>
            <a:lvl6pPr>
              <a:lnSpc>
                <a:spcPct val="80000"/>
              </a:lnSpc>
              <a:defRPr sz="5400" baseline="0">
                <a:latin typeface="+mj-lt"/>
              </a:defRPr>
            </a:lvl6pPr>
            <a:lvl7pPr>
              <a:lnSpc>
                <a:spcPct val="80000"/>
              </a:lnSpc>
              <a:defRPr sz="5400" baseline="0">
                <a:latin typeface="+mj-lt"/>
              </a:defRPr>
            </a:lvl7pPr>
            <a:lvl8pPr>
              <a:lnSpc>
                <a:spcPct val="80000"/>
              </a:lnSpc>
              <a:defRPr sz="5400" baseline="0">
                <a:latin typeface="+mj-lt"/>
              </a:defRPr>
            </a:lvl8pPr>
            <a:lvl9pPr>
              <a:lnSpc>
                <a:spcPct val="80000"/>
              </a:lnSpc>
              <a:defRPr sz="5400" baseline="0">
                <a:latin typeface="+mj-lt"/>
              </a:defRPr>
            </a:lvl9pPr>
          </a:lstStyle>
          <a:p>
            <a:pPr lvl="0"/>
            <a:r>
              <a:rPr lang="de-DE" noProof="0"/>
              <a:t>Kontakt</a:t>
            </a:r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10A421AD-5044-43F6-8152-31C3506979F5}"/>
              </a:ext>
            </a:extLst>
          </p:cNvPr>
          <p:cNvSpPr txBox="1">
            <a:spLocks/>
          </p:cNvSpPr>
          <p:nvPr userDrawn="1"/>
        </p:nvSpPr>
        <p:spPr>
          <a:xfrm>
            <a:off x="1487485" y="4596942"/>
            <a:ext cx="4608513" cy="189275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90000"/>
              <a:buFont typeface="Inter Semi Bold" panose="020B0702030000000004" pitchFamily="34" charset="0"/>
              <a:buNone/>
              <a:defRPr lang="de-DE" sz="1600" b="0" dirty="0">
                <a:latin typeface="+mj-lt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tabLst/>
              <a:defRPr sz="1600" b="0"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defRPr sz="1600" b="0">
                <a:latin typeface="+mj-lt"/>
              </a:defRPr>
            </a:lvl5pPr>
            <a:lvl6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8pPr>
            <a:lvl9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9pPr>
          </a:lstStyle>
          <a:p>
            <a:pPr lvl="0">
              <a:spcAft>
                <a:spcPts val="1200"/>
              </a:spcAft>
            </a:pPr>
            <a:r>
              <a:rPr lang="de-DE" noProof="0" err="1"/>
              <a:t>LichtBlick</a:t>
            </a:r>
            <a:r>
              <a:rPr lang="de-DE" noProof="0"/>
              <a:t> SE</a:t>
            </a:r>
            <a:br>
              <a:rPr lang="de-DE" noProof="0"/>
            </a:br>
            <a:r>
              <a:rPr lang="de-DE" noProof="0"/>
              <a:t>Zirkusweg 6</a:t>
            </a:r>
            <a:br>
              <a:rPr lang="de-DE" noProof="0"/>
            </a:br>
            <a:r>
              <a:rPr lang="de-DE" noProof="0"/>
              <a:t>20359 Hamburg</a:t>
            </a:r>
            <a:br>
              <a:rPr lang="de-DE" noProof="0"/>
            </a:br>
            <a:r>
              <a:rPr lang="de-DE" noProof="0"/>
              <a:t>Telefon: 040-63 60 0</a:t>
            </a:r>
          </a:p>
          <a:p>
            <a:pPr lvl="0"/>
            <a:r>
              <a:rPr lang="de-DE" noProof="0"/>
              <a:t>info@lichtblick.de</a:t>
            </a:r>
            <a:br>
              <a:rPr lang="de-DE" noProof="0"/>
            </a:br>
            <a:r>
              <a:rPr lang="de-DE" noProof="0"/>
              <a:t>www.lichtblick.de</a:t>
            </a:r>
          </a:p>
        </p:txBody>
      </p:sp>
    </p:spTree>
    <p:extLst>
      <p:ext uri="{BB962C8B-B14F-4D97-AF65-F5344CB8AC3E}">
        <p14:creationId xmlns:p14="http://schemas.microsoft.com/office/powerpoint/2010/main" val="4093122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EB1863D8-DB63-4C22-AAA7-72EDC9CB82FD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6EA14A0-3613-4360-88EF-0253BBAD92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67460D59-602E-4C58-A400-BA3380CC9B23}" type="datetime1">
              <a:rPr lang="de-DE" smtClean="0"/>
              <a:t>2022-01-1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D6DB60C-42BE-40BD-8FF3-383B62B0E6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3053749-1ECC-4AB5-901B-624404F25B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8A1FF1D3-3173-46C3-A244-B65A4C046D40}"/>
              </a:ext>
            </a:extLst>
          </p:cNvPr>
          <p:cNvGrpSpPr/>
          <p:nvPr userDrawn="1"/>
        </p:nvGrpSpPr>
        <p:grpSpPr>
          <a:xfrm>
            <a:off x="10990764" y="364362"/>
            <a:ext cx="867864" cy="231551"/>
            <a:chOff x="464743" y="1368699"/>
            <a:chExt cx="2380058" cy="635012"/>
          </a:xfrm>
        </p:grpSpPr>
        <p:sp>
          <p:nvSpPr>
            <p:cNvPr id="9" name="Oval 5">
              <a:extLst>
                <a:ext uri="{FF2B5EF4-FFF2-40B4-BE49-F238E27FC236}">
                  <a16:creationId xmlns:a16="http://schemas.microsoft.com/office/drawing/2014/main" id="{EDACADA7-20C9-4408-BEAA-E5A9DD1BB5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1908261F-7D21-4331-9B51-D5EA24EADD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1" name="Gruppieren 10">
              <a:extLst>
                <a:ext uri="{FF2B5EF4-FFF2-40B4-BE49-F238E27FC236}">
                  <a16:creationId xmlns:a16="http://schemas.microsoft.com/office/drawing/2014/main" id="{587CD074-2D91-4FBC-9D30-00760237743D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12" name="Freeform 7">
                <a:extLst>
                  <a:ext uri="{FF2B5EF4-FFF2-40B4-BE49-F238E27FC236}">
                    <a16:creationId xmlns:a16="http://schemas.microsoft.com/office/drawing/2014/main" id="{7A8C561C-87CE-45E1-9CFA-9512373D99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3" name="Freeform 8">
                <a:extLst>
                  <a:ext uri="{FF2B5EF4-FFF2-40B4-BE49-F238E27FC236}">
                    <a16:creationId xmlns:a16="http://schemas.microsoft.com/office/drawing/2014/main" id="{72EC9B22-1CF8-4F2A-8E57-58A39ABCA97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4" name="Freeform 9">
                <a:extLst>
                  <a:ext uri="{FF2B5EF4-FFF2-40B4-BE49-F238E27FC236}">
                    <a16:creationId xmlns:a16="http://schemas.microsoft.com/office/drawing/2014/main" id="{AC15ECBF-DF59-45DD-AE5F-B76DA979A4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5" name="Freeform 10">
                <a:extLst>
                  <a:ext uri="{FF2B5EF4-FFF2-40B4-BE49-F238E27FC236}">
                    <a16:creationId xmlns:a16="http://schemas.microsoft.com/office/drawing/2014/main" id="{D73A98C9-6BEB-4661-9643-E74C5A30FA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6" name="Freeform 11">
                <a:extLst>
                  <a:ext uri="{FF2B5EF4-FFF2-40B4-BE49-F238E27FC236}">
                    <a16:creationId xmlns:a16="http://schemas.microsoft.com/office/drawing/2014/main" id="{413BD688-67B3-4777-AE5E-47FB317A07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12">
                <a:extLst>
                  <a:ext uri="{FF2B5EF4-FFF2-40B4-BE49-F238E27FC236}">
                    <a16:creationId xmlns:a16="http://schemas.microsoft.com/office/drawing/2014/main" id="{21D675A5-E087-4E40-92F2-955977DF888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13">
                <a:extLst>
                  <a:ext uri="{FF2B5EF4-FFF2-40B4-BE49-F238E27FC236}">
                    <a16:creationId xmlns:a16="http://schemas.microsoft.com/office/drawing/2014/main" id="{40FB772E-762E-437E-BB51-5DD22DC196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4">
                <a:extLst>
                  <a:ext uri="{FF2B5EF4-FFF2-40B4-BE49-F238E27FC236}">
                    <a16:creationId xmlns:a16="http://schemas.microsoft.com/office/drawing/2014/main" id="{19EF3042-F9D9-42E5-BA79-4A9CD09A5A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5">
                <a:extLst>
                  <a:ext uri="{FF2B5EF4-FFF2-40B4-BE49-F238E27FC236}">
                    <a16:creationId xmlns:a16="http://schemas.microsoft.com/office/drawing/2014/main" id="{EC7CE5F6-A704-449A-BF6A-DEC723415D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6">
                <a:extLst>
                  <a:ext uri="{FF2B5EF4-FFF2-40B4-BE49-F238E27FC236}">
                    <a16:creationId xmlns:a16="http://schemas.microsoft.com/office/drawing/2014/main" id="{BDE56437-557C-4D2A-922C-2208778863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748717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ün_LichtBli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F380F37C-B55F-4B1E-85A9-642BBA4F59BB}"/>
              </a:ext>
            </a:extLst>
          </p:cNvPr>
          <p:cNvGrpSpPr/>
          <p:nvPr userDrawn="1"/>
        </p:nvGrpSpPr>
        <p:grpSpPr bwMode="gray">
          <a:xfrm>
            <a:off x="0" y="0"/>
            <a:ext cx="12192000" cy="6858000"/>
            <a:chOff x="5949952" y="0"/>
            <a:chExt cx="8924928" cy="6858000"/>
          </a:xfrm>
        </p:grpSpPr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51D96DC5-264D-4F98-8B9F-FEF747EDC747}"/>
                </a:ext>
              </a:extLst>
            </p:cNvPr>
            <p:cNvSpPr/>
            <p:nvPr userDrawn="1"/>
          </p:nvSpPr>
          <p:spPr bwMode="gray">
            <a:xfrm>
              <a:off x="5949952" y="0"/>
              <a:ext cx="1487488" cy="6858000"/>
            </a:xfrm>
            <a:prstGeom prst="rect">
              <a:avLst/>
            </a:pr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E33FDE03-4E40-458F-A6DA-F24ECF42F971}"/>
                </a:ext>
              </a:extLst>
            </p:cNvPr>
            <p:cNvSpPr/>
            <p:nvPr userDrawn="1"/>
          </p:nvSpPr>
          <p:spPr bwMode="gray">
            <a:xfrm>
              <a:off x="8924928" y="0"/>
              <a:ext cx="1487488" cy="6858000"/>
            </a:xfrm>
            <a:prstGeom prst="rect">
              <a:avLst/>
            </a:prstGeom>
            <a:solidFill>
              <a:schemeClr val="accent3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DC5EB745-0858-49CC-A0FE-29CBC776FA9E}"/>
                </a:ext>
              </a:extLst>
            </p:cNvPr>
            <p:cNvSpPr/>
            <p:nvPr userDrawn="1"/>
          </p:nvSpPr>
          <p:spPr bwMode="gray">
            <a:xfrm>
              <a:off x="7437440" y="0"/>
              <a:ext cx="1487488" cy="6858000"/>
            </a:xfrm>
            <a:prstGeom prst="rect">
              <a:avLst/>
            </a:prstGeom>
            <a:solidFill>
              <a:schemeClr val="accent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B3533DD8-1C73-4E77-A25E-8DB502C51672}"/>
                </a:ext>
              </a:extLst>
            </p:cNvPr>
            <p:cNvSpPr/>
            <p:nvPr userDrawn="1"/>
          </p:nvSpPr>
          <p:spPr bwMode="gray">
            <a:xfrm>
              <a:off x="10412416" y="0"/>
              <a:ext cx="1487488" cy="6858000"/>
            </a:xfrm>
            <a:prstGeom prst="rect">
              <a:avLst/>
            </a:prstGeom>
            <a:solidFill>
              <a:schemeClr val="accent4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D1547A31-ABF2-495E-9F4B-8DFBF25E488D}"/>
                </a:ext>
              </a:extLst>
            </p:cNvPr>
            <p:cNvSpPr/>
            <p:nvPr userDrawn="1"/>
          </p:nvSpPr>
          <p:spPr bwMode="gray">
            <a:xfrm>
              <a:off x="11899905" y="0"/>
              <a:ext cx="1487488" cy="6858000"/>
            </a:xfrm>
            <a:prstGeom prst="rect">
              <a:avLst/>
            </a:prstGeom>
            <a:solidFill>
              <a:schemeClr val="accent5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3EB218CB-88C3-468E-AF95-E8FE5922C203}"/>
                </a:ext>
              </a:extLst>
            </p:cNvPr>
            <p:cNvSpPr/>
            <p:nvPr userDrawn="1"/>
          </p:nvSpPr>
          <p:spPr bwMode="gray">
            <a:xfrm>
              <a:off x="13387392" y="0"/>
              <a:ext cx="1487488" cy="685800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31" name="Datumsplatzhalter 1">
            <a:extLst>
              <a:ext uri="{FF2B5EF4-FFF2-40B4-BE49-F238E27FC236}">
                <a16:creationId xmlns:a16="http://schemas.microsoft.com/office/drawing/2014/main" id="{1A4D56CF-0343-4911-9D23-19D20CB0D9A9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11160919" y="6491733"/>
            <a:ext cx="457993" cy="101671"/>
          </a:xfrm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r"/>
            <a:fld id="{65B39D86-4D04-4285-A286-93A6258E867F}" type="datetime1">
              <a:rPr lang="de-DE" smtClean="0"/>
              <a:t>2022-01-13</a:t>
            </a:fld>
            <a:endParaRPr lang="de-DE"/>
          </a:p>
        </p:txBody>
      </p:sp>
      <p:sp>
        <p:nvSpPr>
          <p:cNvPr id="32" name="Fußzeilenplatzhalter 5">
            <a:extLst>
              <a:ext uri="{FF2B5EF4-FFF2-40B4-BE49-F238E27FC236}">
                <a16:creationId xmlns:a16="http://schemas.microsoft.com/office/drawing/2014/main" id="{521C6FE0-7BD8-4269-AF19-F3EF4843B3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8401051" y="6491733"/>
            <a:ext cx="2522534" cy="101671"/>
          </a:xfrm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de-DE"/>
              <a:t>Risk Report 2021 M03</a:t>
            </a:r>
          </a:p>
        </p:txBody>
      </p:sp>
      <p:sp>
        <p:nvSpPr>
          <p:cNvPr id="33" name="Foliennummernplatzhalter 6">
            <a:extLst>
              <a:ext uri="{FF2B5EF4-FFF2-40B4-BE49-F238E27FC236}">
                <a16:creationId xmlns:a16="http://schemas.microsoft.com/office/drawing/2014/main" id="{ABB9D1A2-0A49-42C5-96D0-40A3E4DE8F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11725538" y="6491733"/>
            <a:ext cx="191824" cy="101671"/>
          </a:xfrm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50962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Freihandform: Form 33">
            <a:extLst>
              <a:ext uri="{FF2B5EF4-FFF2-40B4-BE49-F238E27FC236}">
                <a16:creationId xmlns:a16="http://schemas.microsoft.com/office/drawing/2014/main" id="{7A88C1D1-625C-4F4E-BECD-5CB70DEB7CC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191998 w 12192000"/>
              <a:gd name="connsiteY3" fmla="*/ 6858000 h 6858000"/>
              <a:gd name="connsiteX4" fmla="*/ 12191998 w 12192000"/>
              <a:gd name="connsiteY4" fmla="*/ 3429000 h 6858000"/>
              <a:gd name="connsiteX5" fmla="*/ 8518560 w 12192000"/>
              <a:gd name="connsiteY5" fmla="*/ 3429000 h 6858000"/>
              <a:gd name="connsiteX6" fmla="*/ 7608881 w 12192000"/>
              <a:gd name="connsiteY6" fmla="*/ 4338679 h 6858000"/>
              <a:gd name="connsiteX7" fmla="*/ 7608881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91998" y="6858000"/>
                </a:lnTo>
                <a:lnTo>
                  <a:pt x="12191998" y="3429000"/>
                </a:lnTo>
                <a:lnTo>
                  <a:pt x="8518560" y="3429000"/>
                </a:lnTo>
                <a:cubicBezTo>
                  <a:pt x="8016158" y="3429000"/>
                  <a:pt x="7608881" y="3836277"/>
                  <a:pt x="7608881" y="4338679"/>
                </a:cubicBezTo>
                <a:lnTo>
                  <a:pt x="760888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226" y="2825750"/>
            <a:ext cx="6337300" cy="1216025"/>
          </a:xfrm>
        </p:spPr>
        <p:txBody>
          <a:bodyPr anchor="t"/>
          <a:lstStyle>
            <a:lvl1pPr>
              <a:lnSpc>
                <a:spcPct val="80000"/>
              </a:lnSpc>
              <a:defRPr sz="5400"/>
            </a:lvl1pPr>
            <a:lvl2pPr>
              <a:lnSpc>
                <a:spcPct val="80000"/>
              </a:lnSpc>
              <a:defRPr sz="5400"/>
            </a:lvl2pPr>
            <a:lvl3pPr>
              <a:lnSpc>
                <a:spcPct val="80000"/>
              </a:lnSpc>
              <a:defRPr sz="5400"/>
            </a:lvl3pPr>
            <a:lvl4pPr>
              <a:lnSpc>
                <a:spcPct val="80000"/>
              </a:lnSpc>
              <a:defRPr sz="5400"/>
            </a:lvl4pPr>
            <a:lvl5pPr>
              <a:lnSpc>
                <a:spcPct val="80000"/>
              </a:lnSpc>
              <a:defRPr sz="5400"/>
            </a:lvl5pPr>
            <a:lvl6pPr>
              <a:lnSpc>
                <a:spcPct val="80000"/>
              </a:lnSpc>
              <a:defRPr sz="5400"/>
            </a:lvl6pPr>
            <a:lvl7pPr>
              <a:lnSpc>
                <a:spcPct val="80000"/>
              </a:lnSpc>
              <a:defRPr sz="5400"/>
            </a:lvl7pPr>
            <a:lvl8pPr>
              <a:lnSpc>
                <a:spcPct val="80000"/>
              </a:lnSpc>
              <a:defRPr sz="5400"/>
            </a:lvl8pPr>
            <a:lvl9pPr>
              <a:lnSpc>
                <a:spcPct val="80000"/>
              </a:lnSpc>
              <a:defRPr sz="5400"/>
            </a:lvl9pPr>
          </a:lstStyle>
          <a:p>
            <a:pPr lvl="0"/>
            <a:r>
              <a:rPr lang="de-DE"/>
              <a:t>Präsentationstitel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16C1E5B9-FEB6-4AA6-BD6B-F927D33B7586}"/>
              </a:ext>
            </a:extLst>
          </p:cNvPr>
          <p:cNvGrpSpPr/>
          <p:nvPr userDrawn="1"/>
        </p:nvGrpSpPr>
        <p:grpSpPr>
          <a:xfrm>
            <a:off x="911225" y="1319215"/>
            <a:ext cx="1439910" cy="384176"/>
            <a:chOff x="464743" y="1368699"/>
            <a:chExt cx="2380058" cy="635012"/>
          </a:xfrm>
        </p:grpSpPr>
        <p:sp>
          <p:nvSpPr>
            <p:cNvPr id="13" name="Oval 5">
              <a:extLst>
                <a:ext uri="{FF2B5EF4-FFF2-40B4-BE49-F238E27FC236}">
                  <a16:creationId xmlns:a16="http://schemas.microsoft.com/office/drawing/2014/main" id="{A63FDF46-9240-4989-8BD0-C8E6ACCDA8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BCEEBEBB-AF39-4FA0-BF2A-C2F67F3089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706779D2-753C-408C-8D8F-2EA69C718621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16" name="Freeform 7">
                <a:extLst>
                  <a:ext uri="{FF2B5EF4-FFF2-40B4-BE49-F238E27FC236}">
                    <a16:creationId xmlns:a16="http://schemas.microsoft.com/office/drawing/2014/main" id="{80064577-26DD-4C45-9CA7-CA84B29940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8">
                <a:extLst>
                  <a:ext uri="{FF2B5EF4-FFF2-40B4-BE49-F238E27FC236}">
                    <a16:creationId xmlns:a16="http://schemas.microsoft.com/office/drawing/2014/main" id="{9D448FEE-A734-446E-B740-78A968A27C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9">
                <a:extLst>
                  <a:ext uri="{FF2B5EF4-FFF2-40B4-BE49-F238E27FC236}">
                    <a16:creationId xmlns:a16="http://schemas.microsoft.com/office/drawing/2014/main" id="{888D8F5D-79D7-4B65-A82D-00FF784BBD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0">
                <a:extLst>
                  <a:ext uri="{FF2B5EF4-FFF2-40B4-BE49-F238E27FC236}">
                    <a16:creationId xmlns:a16="http://schemas.microsoft.com/office/drawing/2014/main" id="{C200D8BD-ED64-4635-B9AE-FBB6DE7A03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1">
                <a:extLst>
                  <a:ext uri="{FF2B5EF4-FFF2-40B4-BE49-F238E27FC236}">
                    <a16:creationId xmlns:a16="http://schemas.microsoft.com/office/drawing/2014/main" id="{4AF606B8-E6F5-4239-AF0E-C3B1CB66F7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2">
                <a:extLst>
                  <a:ext uri="{FF2B5EF4-FFF2-40B4-BE49-F238E27FC236}">
                    <a16:creationId xmlns:a16="http://schemas.microsoft.com/office/drawing/2014/main" id="{4FA34997-3170-4E22-BE0E-39B040570F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3">
                <a:extLst>
                  <a:ext uri="{FF2B5EF4-FFF2-40B4-BE49-F238E27FC236}">
                    <a16:creationId xmlns:a16="http://schemas.microsoft.com/office/drawing/2014/main" id="{E0899F0A-43C2-4A2B-BB23-92FD4E59A0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4">
                <a:extLst>
                  <a:ext uri="{FF2B5EF4-FFF2-40B4-BE49-F238E27FC236}">
                    <a16:creationId xmlns:a16="http://schemas.microsoft.com/office/drawing/2014/main" id="{002B1808-6EF8-43A6-98A3-F218A91060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5">
                <a:extLst>
                  <a:ext uri="{FF2B5EF4-FFF2-40B4-BE49-F238E27FC236}">
                    <a16:creationId xmlns:a16="http://schemas.microsoft.com/office/drawing/2014/main" id="{E469321C-D642-4F96-AE63-CD87201D47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6">
                <a:extLst>
                  <a:ext uri="{FF2B5EF4-FFF2-40B4-BE49-F238E27FC236}">
                    <a16:creationId xmlns:a16="http://schemas.microsoft.com/office/drawing/2014/main" id="{4D226FE2-5036-43B8-8F8D-521582CD79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Textplatzhalter 9">
            <a:extLst>
              <a:ext uri="{FF2B5EF4-FFF2-40B4-BE49-F238E27FC236}">
                <a16:creationId xmlns:a16="http://schemas.microsoft.com/office/drawing/2014/main" id="{A3575644-C415-4736-A0BA-E98385D01B2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85404" y="4483700"/>
            <a:ext cx="4963111" cy="216000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Name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3481B9A9-736B-4492-98F4-CFFBBB93D83D}"/>
              </a:ext>
            </a:extLst>
          </p:cNvPr>
          <p:cNvCxnSpPr>
            <a:cxnSpLocks/>
          </p:cNvCxnSpPr>
          <p:nvPr userDrawn="1"/>
        </p:nvCxnSpPr>
        <p:spPr>
          <a:xfrm>
            <a:off x="2053928" y="4483700"/>
            <a:ext cx="0" cy="17938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hteck: eine Ecke abgerundet 4">
            <a:extLst>
              <a:ext uri="{FF2B5EF4-FFF2-40B4-BE49-F238E27FC236}">
                <a16:creationId xmlns:a16="http://schemas.microsoft.com/office/drawing/2014/main" id="{0BA872EC-5B2E-4929-AD92-88DAB6266A9E}"/>
              </a:ext>
            </a:extLst>
          </p:cNvPr>
          <p:cNvSpPr/>
          <p:nvPr userDrawn="1"/>
        </p:nvSpPr>
        <p:spPr>
          <a:xfrm flipH="1">
            <a:off x="7859179" y="3253843"/>
            <a:ext cx="4343397" cy="3614737"/>
          </a:xfrm>
          <a:prstGeom prst="round1Rect">
            <a:avLst>
              <a:gd name="adj" fmla="val 2652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B75EBC14-2DC1-4EDF-B828-6BD98E3DDCBA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917583" y="4483700"/>
            <a:ext cx="904868" cy="216000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smtClean="0"/>
            </a:lvl1pPr>
          </a:lstStyle>
          <a:p>
            <a:pPr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fld id="{6FEC036B-778D-4314-B2C5-88F02F0F603E}" type="datetime1">
              <a:rPr lang="de-DE" smtClean="0"/>
              <a:t>2022-01-13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2B6A11DD-5E08-4096-BA7B-A2496C1019C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de-DE"/>
              <a:t>Risk Report 2021 M03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2926201B-F022-402F-AD21-442CBEA104D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00533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5A0E8ACE-F208-4580-9945-A7005B3E229F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34DB811-0D8A-421A-9CDD-47BCA68CAF03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911225" y="6310313"/>
            <a:ext cx="1114412" cy="216000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smtClean="0"/>
            </a:lvl1pPr>
          </a:lstStyle>
          <a:p>
            <a:pPr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fld id="{CD66210C-3B31-47C4-93B8-1367FB44FF09}" type="datetime1">
              <a:rPr lang="de-DE" smtClean="0"/>
              <a:t>2022-01-13</a:t>
            </a:fld>
            <a:endParaRPr lang="de-DE"/>
          </a:p>
        </p:txBody>
      </p:sp>
      <p:sp>
        <p:nvSpPr>
          <p:cNvPr id="26" name="Bildplatzhalter 25">
            <a:extLst>
              <a:ext uri="{FF2B5EF4-FFF2-40B4-BE49-F238E27FC236}">
                <a16:creationId xmlns:a16="http://schemas.microsoft.com/office/drawing/2014/main" id="{A00D384B-B3AA-4CCF-85B7-8EDB1E746B6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7248524 w 12192000"/>
              <a:gd name="connsiteY3" fmla="*/ 6858000 h 6858000"/>
              <a:gd name="connsiteX4" fmla="*/ 7248524 w 12192000"/>
              <a:gd name="connsiteY4" fmla="*/ 4602507 h 6858000"/>
              <a:gd name="connsiteX5" fmla="*/ 6075018 w 12192000"/>
              <a:gd name="connsiteY5" fmla="*/ 3429000 h 6858000"/>
              <a:gd name="connsiteX6" fmla="*/ 317438 w 12192000"/>
              <a:gd name="connsiteY6" fmla="*/ 3429000 h 6858000"/>
              <a:gd name="connsiteX7" fmla="*/ 6677 w 12192000"/>
              <a:gd name="connsiteY7" fmla="*/ 3429000 h 6858000"/>
              <a:gd name="connsiteX8" fmla="*/ 0 w 12192000"/>
              <a:gd name="connsiteY8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7248524" y="6858000"/>
                </a:lnTo>
                <a:lnTo>
                  <a:pt x="7248524" y="4602507"/>
                </a:lnTo>
                <a:cubicBezTo>
                  <a:pt x="7248524" y="3954397"/>
                  <a:pt x="6723127" y="3429000"/>
                  <a:pt x="6075018" y="3429000"/>
                </a:cubicBezTo>
                <a:lnTo>
                  <a:pt x="317438" y="3429000"/>
                </a:lnTo>
                <a:lnTo>
                  <a:pt x="6677" y="3429000"/>
                </a:lnTo>
                <a:lnTo>
                  <a:pt x="0" y="342900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225" y="4318000"/>
            <a:ext cx="5184775" cy="1673225"/>
          </a:xfrm>
        </p:spPr>
        <p:txBody>
          <a:bodyPr anchor="t"/>
          <a:lstStyle>
            <a:lvl1pPr>
              <a:lnSpc>
                <a:spcPct val="80000"/>
              </a:lnSpc>
              <a:defRPr sz="5400"/>
            </a:lvl1pPr>
            <a:lvl2pPr>
              <a:lnSpc>
                <a:spcPct val="80000"/>
              </a:lnSpc>
              <a:defRPr sz="5400"/>
            </a:lvl2pPr>
            <a:lvl3pPr>
              <a:lnSpc>
                <a:spcPct val="80000"/>
              </a:lnSpc>
              <a:defRPr sz="5400"/>
            </a:lvl3pPr>
            <a:lvl4pPr>
              <a:lnSpc>
                <a:spcPct val="80000"/>
              </a:lnSpc>
              <a:defRPr sz="5400"/>
            </a:lvl4pPr>
            <a:lvl5pPr>
              <a:lnSpc>
                <a:spcPct val="80000"/>
              </a:lnSpc>
              <a:defRPr sz="5400"/>
            </a:lvl5pPr>
            <a:lvl6pPr>
              <a:lnSpc>
                <a:spcPct val="80000"/>
              </a:lnSpc>
              <a:defRPr sz="5400"/>
            </a:lvl6pPr>
            <a:lvl7pPr>
              <a:lnSpc>
                <a:spcPct val="80000"/>
              </a:lnSpc>
              <a:defRPr sz="5400"/>
            </a:lvl7pPr>
            <a:lvl8pPr>
              <a:lnSpc>
                <a:spcPct val="80000"/>
              </a:lnSpc>
              <a:defRPr sz="5400"/>
            </a:lvl8pPr>
            <a:lvl9pPr>
              <a:lnSpc>
                <a:spcPct val="80000"/>
              </a:lnSpc>
              <a:defRPr sz="5400"/>
            </a:lvl9pPr>
          </a:lstStyle>
          <a:p>
            <a:pPr lvl="0"/>
            <a:r>
              <a:rPr lang="de-DE"/>
              <a:t>Präsentations-</a:t>
            </a:r>
            <a:br>
              <a:rPr lang="de-DE"/>
            </a:br>
            <a:r>
              <a:rPr lang="de-DE" err="1"/>
              <a:t>titel</a:t>
            </a:r>
            <a:endParaRPr lang="de-DE"/>
          </a:p>
        </p:txBody>
      </p:sp>
      <p:sp>
        <p:nvSpPr>
          <p:cNvPr id="30" name="Textplatzhalter 9">
            <a:extLst>
              <a:ext uri="{FF2B5EF4-FFF2-40B4-BE49-F238E27FC236}">
                <a16:creationId xmlns:a16="http://schemas.microsoft.com/office/drawing/2014/main" id="{A3575644-C415-4736-A0BA-E98385D01B2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79048" y="6310313"/>
            <a:ext cx="3816952" cy="216000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Sprecher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3481B9A9-736B-4492-98F4-CFFBBB93D83D}"/>
              </a:ext>
            </a:extLst>
          </p:cNvPr>
          <p:cNvCxnSpPr/>
          <p:nvPr userDrawn="1"/>
        </p:nvCxnSpPr>
        <p:spPr>
          <a:xfrm>
            <a:off x="2083772" y="6310313"/>
            <a:ext cx="0" cy="17938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437FBB7-9757-4A42-823D-017F0EC58B9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8401051" y="7075933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7483039-7586-475E-BC6A-3A8359872F8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725538" y="7075933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0BD18794-6309-4515-A3AA-50612C151115}"/>
              </a:ext>
            </a:extLst>
          </p:cNvPr>
          <p:cNvGrpSpPr/>
          <p:nvPr userDrawn="1"/>
        </p:nvGrpSpPr>
        <p:grpSpPr>
          <a:xfrm>
            <a:off x="911225" y="3830191"/>
            <a:ext cx="1011508" cy="269876"/>
            <a:chOff x="464743" y="1368699"/>
            <a:chExt cx="2380058" cy="635012"/>
          </a:xfrm>
        </p:grpSpPr>
        <p:sp>
          <p:nvSpPr>
            <p:cNvPr id="28" name="Oval 5">
              <a:extLst>
                <a:ext uri="{FF2B5EF4-FFF2-40B4-BE49-F238E27FC236}">
                  <a16:creationId xmlns:a16="http://schemas.microsoft.com/office/drawing/2014/main" id="{9CE6EB1D-F871-4BDD-91E0-753690FD8A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9C1C956C-6DA9-47D9-A45E-D0AC629242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E291F193-6B83-4905-8D40-2F4E12A6A556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33" name="Freeform 7">
                <a:extLst>
                  <a:ext uri="{FF2B5EF4-FFF2-40B4-BE49-F238E27FC236}">
                    <a16:creationId xmlns:a16="http://schemas.microsoft.com/office/drawing/2014/main" id="{2C698A07-CF4F-4B4E-B463-6AF11CA9E1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8">
                <a:extLst>
                  <a:ext uri="{FF2B5EF4-FFF2-40B4-BE49-F238E27FC236}">
                    <a16:creationId xmlns:a16="http://schemas.microsoft.com/office/drawing/2014/main" id="{49B1E9AF-EE7D-4C68-B0D5-83050E8DC0A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9">
                <a:extLst>
                  <a:ext uri="{FF2B5EF4-FFF2-40B4-BE49-F238E27FC236}">
                    <a16:creationId xmlns:a16="http://schemas.microsoft.com/office/drawing/2014/main" id="{FB4DF82A-755E-4194-AA61-EE185EF958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0">
                <a:extLst>
                  <a:ext uri="{FF2B5EF4-FFF2-40B4-BE49-F238E27FC236}">
                    <a16:creationId xmlns:a16="http://schemas.microsoft.com/office/drawing/2014/main" id="{A21AA307-0C44-4C53-8FD6-C9B341DEEA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1">
                <a:extLst>
                  <a:ext uri="{FF2B5EF4-FFF2-40B4-BE49-F238E27FC236}">
                    <a16:creationId xmlns:a16="http://schemas.microsoft.com/office/drawing/2014/main" id="{C065EBA0-82F0-471A-BDDE-95E37B6DDC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2">
                <a:extLst>
                  <a:ext uri="{FF2B5EF4-FFF2-40B4-BE49-F238E27FC236}">
                    <a16:creationId xmlns:a16="http://schemas.microsoft.com/office/drawing/2014/main" id="{78081B6A-C4DB-4326-ACB1-473B3725B0F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3">
                <a:extLst>
                  <a:ext uri="{FF2B5EF4-FFF2-40B4-BE49-F238E27FC236}">
                    <a16:creationId xmlns:a16="http://schemas.microsoft.com/office/drawing/2014/main" id="{9EC739A3-31D7-4690-835F-B5FF4CAC1D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4">
                <a:extLst>
                  <a:ext uri="{FF2B5EF4-FFF2-40B4-BE49-F238E27FC236}">
                    <a16:creationId xmlns:a16="http://schemas.microsoft.com/office/drawing/2014/main" id="{BAF2382B-346A-4114-BA29-F4F3181C42F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5">
                <a:extLst>
                  <a:ext uri="{FF2B5EF4-FFF2-40B4-BE49-F238E27FC236}">
                    <a16:creationId xmlns:a16="http://schemas.microsoft.com/office/drawing/2014/main" id="{F5EC112F-DE14-4263-AA9E-A1F5D1CBA1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6">
                <a:extLst>
                  <a:ext uri="{FF2B5EF4-FFF2-40B4-BE49-F238E27FC236}">
                    <a16:creationId xmlns:a16="http://schemas.microsoft.com/office/drawing/2014/main" id="{5C5DA915-BB91-4829-8996-AFF2A18002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30554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reihandform: Form 36">
            <a:extLst>
              <a:ext uri="{FF2B5EF4-FFF2-40B4-BE49-F238E27FC236}">
                <a16:creationId xmlns:a16="http://schemas.microsoft.com/office/drawing/2014/main" id="{5A4CE6BF-C665-428A-8A94-D74142A2F4B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5555456 h 6858000"/>
              <a:gd name="connsiteX3" fmla="*/ 12034223 w 12192000"/>
              <a:gd name="connsiteY3" fmla="*/ 5555456 h 6858000"/>
              <a:gd name="connsiteX4" fmla="*/ 12034202 w 12192000"/>
              <a:gd name="connsiteY4" fmla="*/ 5555455 h 6858000"/>
              <a:gd name="connsiteX5" fmla="*/ 2241392 w 12192000"/>
              <a:gd name="connsiteY5" fmla="*/ 5555455 h 6858000"/>
              <a:gd name="connsiteX6" fmla="*/ 1321594 w 12192000"/>
              <a:gd name="connsiteY6" fmla="*/ 6475253 h 6858000"/>
              <a:gd name="connsiteX7" fmla="*/ 1321594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5555456"/>
                </a:lnTo>
                <a:lnTo>
                  <a:pt x="12034223" y="5555456"/>
                </a:lnTo>
                <a:lnTo>
                  <a:pt x="12034202" y="5555455"/>
                </a:lnTo>
                <a:lnTo>
                  <a:pt x="2241392" y="5555455"/>
                </a:lnTo>
                <a:cubicBezTo>
                  <a:pt x="1733402" y="5555455"/>
                  <a:pt x="1321594" y="5967263"/>
                  <a:pt x="1321594" y="6475253"/>
                </a:cubicBezTo>
                <a:lnTo>
                  <a:pt x="132159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944563"/>
            <a:ext cx="3095625" cy="647698"/>
          </a:xfrm>
        </p:spPr>
        <p:txBody>
          <a:bodyPr anchor="t"/>
          <a:lstStyle>
            <a:lvl1pPr>
              <a:defRPr sz="5400"/>
            </a:lvl1pPr>
            <a:lvl2pPr>
              <a:defRPr sz="5400"/>
            </a:lvl2pPr>
            <a:lvl3pPr>
              <a:defRPr sz="5400"/>
            </a:lvl3pPr>
            <a:lvl4pPr>
              <a:defRPr sz="5400"/>
            </a:lvl4pPr>
            <a:lvl5pPr>
              <a:defRPr sz="5400"/>
            </a:lvl5pPr>
            <a:lvl6pPr>
              <a:defRPr sz="5400"/>
            </a:lvl6pPr>
            <a:lvl7pPr>
              <a:defRPr sz="5400"/>
            </a:lvl7pPr>
            <a:lvl8pPr>
              <a:defRPr sz="5400"/>
            </a:lvl8pPr>
            <a:lvl9pPr>
              <a:defRPr sz="5400"/>
            </a:lvl9pPr>
          </a:lstStyle>
          <a:p>
            <a:pPr lvl="0"/>
            <a:r>
              <a:rPr lang="de-DE"/>
              <a:t>Agenda</a:t>
            </a: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5633BB16-81E2-41BA-8DB1-CB4727975DC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83113" y="1592261"/>
            <a:ext cx="3817937" cy="3673475"/>
          </a:xfrm>
        </p:spPr>
        <p:txBody>
          <a:bodyPr/>
          <a:lstStyle>
            <a:lvl1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Ers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Zwei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Drit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Vier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Fünfte Ebene für Aufzählungen</a:t>
            </a:r>
          </a:p>
          <a:p>
            <a:pPr lvl="0"/>
            <a:r>
              <a:rPr lang="de-DE"/>
              <a:t>Sechste Ebene für Highlights</a:t>
            </a:r>
          </a:p>
        </p:txBody>
      </p:sp>
      <p:sp>
        <p:nvSpPr>
          <p:cNvPr id="19" name="Freihandform: Form 18">
            <a:extLst>
              <a:ext uri="{FF2B5EF4-FFF2-40B4-BE49-F238E27FC236}">
                <a16:creationId xmlns:a16="http://schemas.microsoft.com/office/drawing/2014/main" id="{11506FDE-2E24-408A-9A98-EF162BACC1A3}"/>
              </a:ext>
            </a:extLst>
          </p:cNvPr>
          <p:cNvSpPr/>
          <p:nvPr userDrawn="1"/>
        </p:nvSpPr>
        <p:spPr>
          <a:xfrm flipH="1">
            <a:off x="1498068" y="5376330"/>
            <a:ext cx="10704512" cy="1492250"/>
          </a:xfrm>
          <a:custGeom>
            <a:avLst/>
            <a:gdLst>
              <a:gd name="connsiteX0" fmla="*/ 9783757 w 10704512"/>
              <a:gd name="connsiteY0" fmla="*/ 0 h 1492250"/>
              <a:gd name="connsiteX1" fmla="*/ 0 w 10704512"/>
              <a:gd name="connsiteY1" fmla="*/ 0 h 1492250"/>
              <a:gd name="connsiteX2" fmla="*/ 0 w 10704512"/>
              <a:gd name="connsiteY2" fmla="*/ 1492250 h 1492250"/>
              <a:gd name="connsiteX3" fmla="*/ 10704512 w 10704512"/>
              <a:gd name="connsiteY3" fmla="*/ 1492250 h 1492250"/>
              <a:gd name="connsiteX4" fmla="*/ 10704512 w 10704512"/>
              <a:gd name="connsiteY4" fmla="*/ 920755 h 1492250"/>
              <a:gd name="connsiteX5" fmla="*/ 9783757 w 10704512"/>
              <a:gd name="connsiteY5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704512" h="1492250">
                <a:moveTo>
                  <a:pt x="9783757" y="0"/>
                </a:moveTo>
                <a:lnTo>
                  <a:pt x="0" y="0"/>
                </a:lnTo>
                <a:lnTo>
                  <a:pt x="0" y="1492250"/>
                </a:lnTo>
                <a:lnTo>
                  <a:pt x="10704512" y="1492250"/>
                </a:lnTo>
                <a:lnTo>
                  <a:pt x="10704512" y="920755"/>
                </a:lnTo>
                <a:cubicBezTo>
                  <a:pt x="10704512" y="412236"/>
                  <a:pt x="10292276" y="0"/>
                  <a:pt x="9783757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254916B7-58EF-4F08-A783-46F18118B6C0}"/>
              </a:ext>
            </a:extLst>
          </p:cNvPr>
          <p:cNvGrpSpPr/>
          <p:nvPr userDrawn="1"/>
        </p:nvGrpSpPr>
        <p:grpSpPr>
          <a:xfrm>
            <a:off x="10990764" y="364362"/>
            <a:ext cx="867864" cy="231551"/>
            <a:chOff x="464743" y="1368699"/>
            <a:chExt cx="2380058" cy="635012"/>
          </a:xfrm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9DF83FF6-AFE6-4555-90DE-0D3C163DA0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7AE21AAB-E07B-47DA-AFD0-DEAA3D275A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A56AB8B5-4588-48C1-9C07-75640E26512E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A71BD18E-6C07-411A-9495-8446904F72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8">
                <a:extLst>
                  <a:ext uri="{FF2B5EF4-FFF2-40B4-BE49-F238E27FC236}">
                    <a16:creationId xmlns:a16="http://schemas.microsoft.com/office/drawing/2014/main" id="{26CCEDD4-2516-4002-A7DC-A59BA62F373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9">
                <a:extLst>
                  <a:ext uri="{FF2B5EF4-FFF2-40B4-BE49-F238E27FC236}">
                    <a16:creationId xmlns:a16="http://schemas.microsoft.com/office/drawing/2014/main" id="{DF3B131D-3C13-42E0-9206-E171CCF5B5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0">
                <a:extLst>
                  <a:ext uri="{FF2B5EF4-FFF2-40B4-BE49-F238E27FC236}">
                    <a16:creationId xmlns:a16="http://schemas.microsoft.com/office/drawing/2014/main" id="{CC1A6517-C355-46B0-AAC1-F23094D15D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1">
                <a:extLst>
                  <a:ext uri="{FF2B5EF4-FFF2-40B4-BE49-F238E27FC236}">
                    <a16:creationId xmlns:a16="http://schemas.microsoft.com/office/drawing/2014/main" id="{2D282B2E-2815-47F9-A08C-655F14185C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2">
                <a:extLst>
                  <a:ext uri="{FF2B5EF4-FFF2-40B4-BE49-F238E27FC236}">
                    <a16:creationId xmlns:a16="http://schemas.microsoft.com/office/drawing/2014/main" id="{8966AAB2-499D-4B16-B74F-A313AB8B943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3">
                <a:extLst>
                  <a:ext uri="{FF2B5EF4-FFF2-40B4-BE49-F238E27FC236}">
                    <a16:creationId xmlns:a16="http://schemas.microsoft.com/office/drawing/2014/main" id="{72DAECD8-27D3-4109-A6A0-3CDDC159E5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4">
                <a:extLst>
                  <a:ext uri="{FF2B5EF4-FFF2-40B4-BE49-F238E27FC236}">
                    <a16:creationId xmlns:a16="http://schemas.microsoft.com/office/drawing/2014/main" id="{34080E8D-32B8-4A2B-9398-55858DAB3A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15">
                <a:extLst>
                  <a:ext uri="{FF2B5EF4-FFF2-40B4-BE49-F238E27FC236}">
                    <a16:creationId xmlns:a16="http://schemas.microsoft.com/office/drawing/2014/main" id="{F492BF34-88EE-4DF9-A3FA-1D74A54071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6">
                <a:extLst>
                  <a:ext uri="{FF2B5EF4-FFF2-40B4-BE49-F238E27FC236}">
                    <a16:creationId xmlns:a16="http://schemas.microsoft.com/office/drawing/2014/main" id="{29342A22-C6BD-4A9B-BA64-C9BB74D818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E39C62E-E45B-4DB0-8BDC-ADF35A7DD17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5005A240-5D21-4F61-B75C-5A41A3B0A027}" type="datetime1">
              <a:rPr lang="de-DE" smtClean="0"/>
              <a:t>2022-01-1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2BDBB57-71E2-4418-B351-9C4643F67D8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8D621D8-7D75-456C-87F6-66D9307AC69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6772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Bild L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317B55F7-F5B3-46AC-9AB6-55579C09F6E2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2305050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2301875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43E2C865-4F6F-4FFB-9FA5-5FFFFBBB051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792538" y="0"/>
            <a:ext cx="8399462" cy="5990252"/>
          </a:xfrm>
          <a:custGeom>
            <a:avLst/>
            <a:gdLst>
              <a:gd name="connsiteX0" fmla="*/ 0 w 8399462"/>
              <a:gd name="connsiteY0" fmla="*/ 0 h 5990252"/>
              <a:gd name="connsiteX1" fmla="*/ 8399462 w 8399462"/>
              <a:gd name="connsiteY1" fmla="*/ 0 h 5990252"/>
              <a:gd name="connsiteX2" fmla="*/ 8399462 w 8399462"/>
              <a:gd name="connsiteY2" fmla="*/ 5990252 h 5990252"/>
              <a:gd name="connsiteX3" fmla="*/ 861219 w 8399462"/>
              <a:gd name="connsiteY3" fmla="*/ 5990252 h 5990252"/>
              <a:gd name="connsiteX4" fmla="*/ 0 w 8399462"/>
              <a:gd name="connsiteY4" fmla="*/ 5129033 h 599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399462" h="5990252">
                <a:moveTo>
                  <a:pt x="0" y="0"/>
                </a:moveTo>
                <a:lnTo>
                  <a:pt x="8399462" y="0"/>
                </a:lnTo>
                <a:lnTo>
                  <a:pt x="8399462" y="5990252"/>
                </a:lnTo>
                <a:lnTo>
                  <a:pt x="861219" y="5990252"/>
                </a:lnTo>
                <a:cubicBezTo>
                  <a:pt x="385581" y="5990252"/>
                  <a:pt x="0" y="5604671"/>
                  <a:pt x="0" y="512903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B0E5F44-7D73-4948-A7F2-232AB4FF03C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273EFDA0-2E28-4576-B386-14481082DC11}" type="datetime1">
              <a:rPr lang="de-DE" smtClean="0"/>
              <a:t>2022-01-1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FA77F78-4CC6-4F26-8568-3DB995886CD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1FCC11E2-1CDF-49C5-9FE1-DB63FC68EC2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platzhalter 117">
            <a:extLst>
              <a:ext uri="{FF2B5EF4-FFF2-40B4-BE49-F238E27FC236}">
                <a16:creationId xmlns:a16="http://schemas.microsoft.com/office/drawing/2014/main" id="{E884F540-0080-4436-99F9-12F8A496165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CE47D79E-DE22-4CBC-BC3F-D6E47CD3607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2301875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211478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folie 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C9247478-3193-499B-A283-D437B7BC3F3A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4BD5292E-ABCC-411A-B03A-38C6B1E94E0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-1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4287 w 12192000"/>
              <a:gd name="connsiteY1" fmla="*/ 0 h 6858000"/>
              <a:gd name="connsiteX2" fmla="*/ 731500 w 12192000"/>
              <a:gd name="connsiteY2" fmla="*/ 0 h 6858000"/>
              <a:gd name="connsiteX3" fmla="*/ 12192000 w 12192000"/>
              <a:gd name="connsiteY3" fmla="*/ 0 h 6858000"/>
              <a:gd name="connsiteX4" fmla="*/ 12192000 w 12192000"/>
              <a:gd name="connsiteY4" fmla="*/ 6858000 h 6858000"/>
              <a:gd name="connsiteX5" fmla="*/ 6096000 w 12192000"/>
              <a:gd name="connsiteY5" fmla="*/ 6858000 h 6858000"/>
              <a:gd name="connsiteX6" fmla="*/ 6096000 w 12192000"/>
              <a:gd name="connsiteY6" fmla="*/ 1629422 h 6858000"/>
              <a:gd name="connsiteX7" fmla="*/ 5088684 w 12192000"/>
              <a:gd name="connsiteY7" fmla="*/ 622106 h 6858000"/>
              <a:gd name="connsiteX8" fmla="*/ 731500 w 12192000"/>
              <a:gd name="connsiteY8" fmla="*/ 622106 h 6858000"/>
              <a:gd name="connsiteX9" fmla="*/ 14287 w 12192000"/>
              <a:gd name="connsiteY9" fmla="*/ 622106 h 6858000"/>
              <a:gd name="connsiteX10" fmla="*/ 0 w 12192000"/>
              <a:gd name="connsiteY10" fmla="*/ 62210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4287" y="0"/>
                </a:lnTo>
                <a:lnTo>
                  <a:pt x="731500" y="0"/>
                </a:lnTo>
                <a:lnTo>
                  <a:pt x="12192000" y="0"/>
                </a:lnTo>
                <a:lnTo>
                  <a:pt x="12192000" y="6858000"/>
                </a:lnTo>
                <a:lnTo>
                  <a:pt x="6096000" y="6858000"/>
                </a:lnTo>
                <a:lnTo>
                  <a:pt x="6096000" y="1629422"/>
                </a:lnTo>
                <a:cubicBezTo>
                  <a:pt x="6096000" y="1073097"/>
                  <a:pt x="5645009" y="622106"/>
                  <a:pt x="5088684" y="622106"/>
                </a:cubicBezTo>
                <a:lnTo>
                  <a:pt x="731500" y="622106"/>
                </a:lnTo>
                <a:lnTo>
                  <a:pt x="14287" y="622106"/>
                </a:lnTo>
                <a:lnTo>
                  <a:pt x="0" y="622106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lIns="1800000" tIns="0" bIns="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1592263"/>
            <a:ext cx="3455987" cy="1223962"/>
          </a:xfrm>
        </p:spPr>
        <p:txBody>
          <a:bodyPr anchor="t"/>
          <a:lstStyle>
            <a:lvl1pPr>
              <a:defRPr sz="5400"/>
            </a:lvl1pPr>
            <a:lvl2pPr>
              <a:defRPr sz="5400"/>
            </a:lvl2pPr>
            <a:lvl3pPr>
              <a:defRPr sz="5400"/>
            </a:lvl3pPr>
            <a:lvl4pPr>
              <a:defRPr sz="5400"/>
            </a:lvl4pPr>
            <a:lvl5pPr>
              <a:defRPr sz="5400"/>
            </a:lvl5pPr>
            <a:lvl6pPr>
              <a:defRPr sz="5400"/>
            </a:lvl6pPr>
            <a:lvl7pPr>
              <a:defRPr sz="5400"/>
            </a:lvl7pPr>
            <a:lvl8pPr>
              <a:defRPr sz="5400"/>
            </a:lvl8pPr>
            <a:lvl9pPr>
              <a:defRPr sz="5400"/>
            </a:lvl9pPr>
          </a:lstStyle>
          <a:p>
            <a:pPr lvl="0"/>
            <a:r>
              <a:rPr lang="de-DE"/>
              <a:t>Agenda</a:t>
            </a:r>
          </a:p>
        </p:txBody>
      </p:sp>
      <p:sp>
        <p:nvSpPr>
          <p:cNvPr id="8" name="Textplatzhalter 9">
            <a:extLst>
              <a:ext uri="{FF2B5EF4-FFF2-40B4-BE49-F238E27FC236}">
                <a16:creationId xmlns:a16="http://schemas.microsoft.com/office/drawing/2014/main" id="{85F76B8B-1FC5-4521-AD1F-6A3F92AE390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487488" y="2816225"/>
            <a:ext cx="3455987" cy="3673475"/>
          </a:xfrm>
        </p:spPr>
        <p:txBody>
          <a:bodyPr/>
          <a:lstStyle>
            <a:lvl1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Ers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Zwei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Drit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Vier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Fünfte Ebene für Aufzählungen</a:t>
            </a:r>
          </a:p>
          <a:p>
            <a:pPr lvl="0"/>
            <a:r>
              <a:rPr lang="de-DE"/>
              <a:t>Sechste Ebene für Highlights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C54598E-FC50-496C-9931-8DA549B04D5D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1160919" y="7101333"/>
            <a:ext cx="457993" cy="101671"/>
          </a:xfrm>
        </p:spPr>
        <p:txBody>
          <a:bodyPr/>
          <a:lstStyle/>
          <a:p>
            <a:pPr algn="r"/>
            <a:fld id="{B544E603-1BFC-4490-B19F-26A0ACD575B2}" type="datetime1">
              <a:rPr lang="de-DE" smtClean="0"/>
              <a:t>2022-01-1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F3E8894-DCFC-4586-95EE-4E7F5B69739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8401051" y="7101333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A36E9F1-F3BA-4241-A2AA-E1B75550C16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725538" y="7101333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4" name="Textplatzhalter 117">
            <a:extLst>
              <a:ext uri="{FF2B5EF4-FFF2-40B4-BE49-F238E27FC236}">
                <a16:creationId xmlns:a16="http://schemas.microsoft.com/office/drawing/2014/main" id="{27728EDC-9F95-41EC-A4B7-522A95BE7C0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66758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ihandform: Form 13">
            <a:extLst>
              <a:ext uri="{FF2B5EF4-FFF2-40B4-BE49-F238E27FC236}">
                <a16:creationId xmlns:a16="http://schemas.microsoft.com/office/drawing/2014/main" id="{072AF896-135A-4A96-A537-178BCF5D84F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0704513 w 12192000"/>
              <a:gd name="connsiteY3" fmla="*/ 6858000 h 6858000"/>
              <a:gd name="connsiteX4" fmla="*/ 10704513 w 12192000"/>
              <a:gd name="connsiteY4" fmla="*/ 2789980 h 6858000"/>
              <a:gd name="connsiteX5" fmla="*/ 9735713 w 12192000"/>
              <a:gd name="connsiteY5" fmla="*/ 1821180 h 6858000"/>
              <a:gd name="connsiteX6" fmla="*/ 0 w 12192000"/>
              <a:gd name="connsiteY6" fmla="*/ 182118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0704513" y="6858000"/>
                </a:lnTo>
                <a:lnTo>
                  <a:pt x="10704513" y="2789980"/>
                </a:lnTo>
                <a:cubicBezTo>
                  <a:pt x="10704513" y="2254927"/>
                  <a:pt x="10270766" y="1821180"/>
                  <a:pt x="9735713" y="1821180"/>
                </a:cubicBezTo>
                <a:lnTo>
                  <a:pt x="0" y="182118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FB9B356D-077B-4EA8-8CD9-172297E20735}"/>
              </a:ext>
            </a:extLst>
          </p:cNvPr>
          <p:cNvSpPr/>
          <p:nvPr userDrawn="1"/>
        </p:nvSpPr>
        <p:spPr>
          <a:xfrm>
            <a:off x="-10580" y="1603901"/>
            <a:ext cx="10892824" cy="5265737"/>
          </a:xfrm>
          <a:custGeom>
            <a:avLst/>
            <a:gdLst>
              <a:gd name="connsiteX0" fmla="*/ 0 w 10892824"/>
              <a:gd name="connsiteY0" fmla="*/ 0 h 5265737"/>
              <a:gd name="connsiteX1" fmla="*/ 9854153 w 10892824"/>
              <a:gd name="connsiteY1" fmla="*/ 0 h 5265737"/>
              <a:gd name="connsiteX2" fmla="*/ 10892824 w 10892824"/>
              <a:gd name="connsiteY2" fmla="*/ 1038671 h 5265737"/>
              <a:gd name="connsiteX3" fmla="*/ 10892824 w 10892824"/>
              <a:gd name="connsiteY3" fmla="*/ 5265737 h 5265737"/>
              <a:gd name="connsiteX4" fmla="*/ 0 w 10892824"/>
              <a:gd name="connsiteY4" fmla="*/ 5265737 h 5265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892824" h="5265737">
                <a:moveTo>
                  <a:pt x="0" y="0"/>
                </a:moveTo>
                <a:lnTo>
                  <a:pt x="9854153" y="0"/>
                </a:lnTo>
                <a:cubicBezTo>
                  <a:pt x="10427795" y="0"/>
                  <a:pt x="10892824" y="465029"/>
                  <a:pt x="10892824" y="1038671"/>
                </a:cubicBezTo>
                <a:lnTo>
                  <a:pt x="10892824" y="5265737"/>
                </a:lnTo>
                <a:lnTo>
                  <a:pt x="0" y="5265737"/>
                </a:ln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CF693C21-4507-4F3E-81F3-C5129BC124FB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0" name="Oval 5">
              <a:extLst>
                <a:ext uri="{FF2B5EF4-FFF2-40B4-BE49-F238E27FC236}">
                  <a16:creationId xmlns:a16="http://schemas.microsoft.com/office/drawing/2014/main" id="{9C338AFF-E703-4949-85EC-CB4644EB8B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id="{252C4243-738B-4049-BDED-CD4B6AA6E6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2" name="Gruppieren 21">
              <a:extLst>
                <a:ext uri="{FF2B5EF4-FFF2-40B4-BE49-F238E27FC236}">
                  <a16:creationId xmlns:a16="http://schemas.microsoft.com/office/drawing/2014/main" id="{5CF87B07-4289-49FF-9D93-5E50076EA829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23" name="Freeform 7">
                <a:extLst>
                  <a:ext uri="{FF2B5EF4-FFF2-40B4-BE49-F238E27FC236}">
                    <a16:creationId xmlns:a16="http://schemas.microsoft.com/office/drawing/2014/main" id="{0B6C66D2-26E8-4D8C-B008-A5821EDA65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8">
                <a:extLst>
                  <a:ext uri="{FF2B5EF4-FFF2-40B4-BE49-F238E27FC236}">
                    <a16:creationId xmlns:a16="http://schemas.microsoft.com/office/drawing/2014/main" id="{2E3DC62B-3FCB-4F68-BE4D-EE46C674CF4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9">
                <a:extLst>
                  <a:ext uri="{FF2B5EF4-FFF2-40B4-BE49-F238E27FC236}">
                    <a16:creationId xmlns:a16="http://schemas.microsoft.com/office/drawing/2014/main" id="{051A77AC-8B30-43FC-8D49-FE6CFBBF28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0">
                <a:extLst>
                  <a:ext uri="{FF2B5EF4-FFF2-40B4-BE49-F238E27FC236}">
                    <a16:creationId xmlns:a16="http://schemas.microsoft.com/office/drawing/2014/main" id="{36558BEF-9E49-44A2-91FA-86FF532E46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1">
                <a:extLst>
                  <a:ext uri="{FF2B5EF4-FFF2-40B4-BE49-F238E27FC236}">
                    <a16:creationId xmlns:a16="http://schemas.microsoft.com/office/drawing/2014/main" id="{8E243C08-9029-4757-B58F-2B10ED5ED7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2">
                <a:extLst>
                  <a:ext uri="{FF2B5EF4-FFF2-40B4-BE49-F238E27FC236}">
                    <a16:creationId xmlns:a16="http://schemas.microsoft.com/office/drawing/2014/main" id="{551DA8B8-ABFE-424A-915B-1F8F10DC4C8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3">
                <a:extLst>
                  <a:ext uri="{FF2B5EF4-FFF2-40B4-BE49-F238E27FC236}">
                    <a16:creationId xmlns:a16="http://schemas.microsoft.com/office/drawing/2014/main" id="{BE56415D-81F1-4E23-80F6-F742A96E6B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4">
                <a:extLst>
                  <a:ext uri="{FF2B5EF4-FFF2-40B4-BE49-F238E27FC236}">
                    <a16:creationId xmlns:a16="http://schemas.microsoft.com/office/drawing/2014/main" id="{0F7D23C0-88E4-43F4-AF63-A90A4D971A9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5">
                <a:extLst>
                  <a:ext uri="{FF2B5EF4-FFF2-40B4-BE49-F238E27FC236}">
                    <a16:creationId xmlns:a16="http://schemas.microsoft.com/office/drawing/2014/main" id="{8104E26D-3B4A-471C-811A-D9D06E67E7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16">
                <a:extLst>
                  <a:ext uri="{FF2B5EF4-FFF2-40B4-BE49-F238E27FC236}">
                    <a16:creationId xmlns:a16="http://schemas.microsoft.com/office/drawing/2014/main" id="{CB8C91E4-CA6C-4E38-B0E9-648EC3A011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EDF9A70-399E-4529-A7DB-A038CFBA646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160919" y="7025133"/>
            <a:ext cx="457993" cy="101671"/>
          </a:xfrm>
        </p:spPr>
        <p:txBody>
          <a:bodyPr/>
          <a:lstStyle/>
          <a:p>
            <a:pPr algn="r"/>
            <a:fld id="{7A9FA800-A6FA-489D-B0DB-713F5A2AA0C2}" type="datetime1">
              <a:rPr lang="de-DE" smtClean="0"/>
              <a:t>2022-01-1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34C1970-862A-40A2-A410-8A18C19CA5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401051" y="7025133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F3A8B34-701D-49AF-8DAE-5BB05BEE9C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25538" y="7025133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8D9B16BE-0EE2-4EA3-BDC6-E0867C9B8C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7" y="3429000"/>
            <a:ext cx="6121401" cy="1836738"/>
          </a:xfr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  <a:lvl2pPr>
              <a:defRPr sz="4000">
                <a:solidFill>
                  <a:schemeClr val="bg1"/>
                </a:solidFill>
              </a:defRPr>
            </a:lvl2pPr>
            <a:lvl3pPr>
              <a:defRPr sz="4000">
                <a:solidFill>
                  <a:schemeClr val="bg1"/>
                </a:solidFill>
              </a:defRPr>
            </a:lvl3pPr>
            <a:lvl4pPr>
              <a:defRPr sz="4000">
                <a:solidFill>
                  <a:schemeClr val="bg1"/>
                </a:solidFill>
              </a:defRPr>
            </a:lvl4pPr>
            <a:lvl5pPr>
              <a:defRPr sz="4000">
                <a:solidFill>
                  <a:schemeClr val="bg1"/>
                </a:solidFill>
              </a:defRPr>
            </a:lvl5pPr>
            <a:lvl6pPr>
              <a:defRPr sz="4000">
                <a:solidFill>
                  <a:schemeClr val="bg1"/>
                </a:solidFill>
              </a:defRPr>
            </a:lvl6pPr>
            <a:lvl7pPr>
              <a:defRPr sz="4000">
                <a:solidFill>
                  <a:schemeClr val="bg1"/>
                </a:solidFill>
              </a:defRPr>
            </a:lvl7pPr>
            <a:lvl8pPr>
              <a:defRPr sz="4000">
                <a:solidFill>
                  <a:schemeClr val="bg1"/>
                </a:solidFill>
              </a:defRPr>
            </a:lvl8pPr>
            <a:lvl9pPr>
              <a:defRPr sz="40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itel für das nächste Kapitel bitte hier einfügen</a:t>
            </a:r>
          </a:p>
        </p:txBody>
      </p:sp>
      <p:sp>
        <p:nvSpPr>
          <p:cNvPr id="28" name="Untertitel 2">
            <a:extLst>
              <a:ext uri="{FF2B5EF4-FFF2-40B4-BE49-F238E27FC236}">
                <a16:creationId xmlns:a16="http://schemas.microsoft.com/office/drawing/2014/main" id="{0C9746DD-0481-4D9E-B78D-3F412C9E24AC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1487487" y="5265738"/>
            <a:ext cx="6121401" cy="1225995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solidFill>
                  <a:schemeClr val="bg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5pPr>
            <a:lvl6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6pPr>
            <a:lvl7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7pPr>
            <a:lvl8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8pPr>
            <a:lvl9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98979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D19BAEC9-FD66-4F21-8513-21AE499E07F3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A9CBC99B-E8C6-4051-A9E9-0C624C40229F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11" name="Oval 5">
              <a:extLst>
                <a:ext uri="{FF2B5EF4-FFF2-40B4-BE49-F238E27FC236}">
                  <a16:creationId xmlns:a16="http://schemas.microsoft.com/office/drawing/2014/main" id="{DED38C07-9A75-471C-B61E-C6B17EDCE2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EBAC15C1-136D-42F8-A7B6-CB480B5AA0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3" name="Gruppieren 12">
              <a:extLst>
                <a:ext uri="{FF2B5EF4-FFF2-40B4-BE49-F238E27FC236}">
                  <a16:creationId xmlns:a16="http://schemas.microsoft.com/office/drawing/2014/main" id="{45361738-16C3-40AC-A788-EA9036EDBAFB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14" name="Freeform 7">
                <a:extLst>
                  <a:ext uri="{FF2B5EF4-FFF2-40B4-BE49-F238E27FC236}">
                    <a16:creationId xmlns:a16="http://schemas.microsoft.com/office/drawing/2014/main" id="{0C5DC918-EA52-4FC3-8A01-3388FE6CFA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5" name="Freeform 8">
                <a:extLst>
                  <a:ext uri="{FF2B5EF4-FFF2-40B4-BE49-F238E27FC236}">
                    <a16:creationId xmlns:a16="http://schemas.microsoft.com/office/drawing/2014/main" id="{ABB1E81B-393E-4C03-A0F0-5DA085524AB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6" name="Freeform 9">
                <a:extLst>
                  <a:ext uri="{FF2B5EF4-FFF2-40B4-BE49-F238E27FC236}">
                    <a16:creationId xmlns:a16="http://schemas.microsoft.com/office/drawing/2014/main" id="{7334091F-5E16-47D4-8265-3B46094438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10">
                <a:extLst>
                  <a:ext uri="{FF2B5EF4-FFF2-40B4-BE49-F238E27FC236}">
                    <a16:creationId xmlns:a16="http://schemas.microsoft.com/office/drawing/2014/main" id="{9FF719ED-D4C1-4360-BAB4-26734998B7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11">
                <a:extLst>
                  <a:ext uri="{FF2B5EF4-FFF2-40B4-BE49-F238E27FC236}">
                    <a16:creationId xmlns:a16="http://schemas.microsoft.com/office/drawing/2014/main" id="{B50B74DF-1EDF-4E89-A0F2-3DE62F5024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2">
                <a:extLst>
                  <a:ext uri="{FF2B5EF4-FFF2-40B4-BE49-F238E27FC236}">
                    <a16:creationId xmlns:a16="http://schemas.microsoft.com/office/drawing/2014/main" id="{B5C0C5D5-9E4D-47B8-811F-7E74CC67DAF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3">
                <a:extLst>
                  <a:ext uri="{FF2B5EF4-FFF2-40B4-BE49-F238E27FC236}">
                    <a16:creationId xmlns:a16="http://schemas.microsoft.com/office/drawing/2014/main" id="{D86D4DD4-8682-4840-A450-295468F320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4">
                <a:extLst>
                  <a:ext uri="{FF2B5EF4-FFF2-40B4-BE49-F238E27FC236}">
                    <a16:creationId xmlns:a16="http://schemas.microsoft.com/office/drawing/2014/main" id="{0DDC3BB0-F3F9-4D74-A613-68E6E9CAF43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5">
                <a:extLst>
                  <a:ext uri="{FF2B5EF4-FFF2-40B4-BE49-F238E27FC236}">
                    <a16:creationId xmlns:a16="http://schemas.microsoft.com/office/drawing/2014/main" id="{529D01BE-1D12-43D9-9580-7DD60A4ABC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6">
                <a:extLst>
                  <a:ext uri="{FF2B5EF4-FFF2-40B4-BE49-F238E27FC236}">
                    <a16:creationId xmlns:a16="http://schemas.microsoft.com/office/drawing/2014/main" id="{C99B43FC-7A0B-486C-995F-A1615F010F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" name="Untertitel 2">
            <a:extLst>
              <a:ext uri="{FF2B5EF4-FFF2-40B4-BE49-F238E27FC236}">
                <a16:creationId xmlns:a16="http://schemas.microsoft.com/office/drawing/2014/main" id="{3B2F4070-1FD5-4AA5-814E-B037EDDBD63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7248524" y="3428999"/>
            <a:ext cx="3455989" cy="1836738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latin typeface="+mj-lt"/>
              </a:defRPr>
            </a:lvl5pPr>
            <a:lvl6pPr marL="0" indent="0" algn="l">
              <a:buNone/>
              <a:defRPr sz="1600">
                <a:latin typeface="+mj-lt"/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1600">
                <a:latin typeface="+mj-lt"/>
              </a:defRPr>
            </a:lvl8pPr>
            <a:lvl9pPr marL="0" indent="0" algn="l">
              <a:buNone/>
              <a:defRPr sz="1600"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48524" y="1592263"/>
            <a:ext cx="3455989" cy="1836736"/>
          </a:xfrm>
        </p:spPr>
        <p:txBody>
          <a:bodyPr anchor="t"/>
          <a:lstStyle>
            <a:lvl1pPr>
              <a:defRPr sz="4000"/>
            </a:lvl1pPr>
            <a:lvl2pPr>
              <a:defRPr sz="4000"/>
            </a:lvl2pPr>
            <a:lvl3pPr>
              <a:defRPr sz="4000"/>
            </a:lvl3pPr>
            <a:lvl4pPr>
              <a:defRPr sz="4000"/>
            </a:lvl4pPr>
            <a:lvl5pPr>
              <a:defRPr sz="4000"/>
            </a:lvl5pPr>
            <a:lvl6pPr>
              <a:defRPr sz="4000"/>
            </a:lvl6pPr>
            <a:lvl7pPr>
              <a:defRPr sz="4000"/>
            </a:lvl7pPr>
            <a:lvl8pPr>
              <a:defRPr sz="4000"/>
            </a:lvl8pPr>
            <a:lvl9pPr>
              <a:defRPr sz="4000"/>
            </a:lvl9pPr>
          </a:lstStyle>
          <a:p>
            <a:pPr lvl="0"/>
            <a:r>
              <a:rPr lang="de-DE"/>
              <a:t>Kapitel- </a:t>
            </a:r>
            <a:r>
              <a:rPr lang="de-DE" err="1"/>
              <a:t>überschrift</a:t>
            </a:r>
            <a:endParaRPr lang="de-DE"/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9782B2D3-3015-47F5-901D-035A84A3802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6096000" cy="6223000"/>
          </a:xfrm>
          <a:custGeom>
            <a:avLst/>
            <a:gdLst>
              <a:gd name="connsiteX0" fmla="*/ 0 w 6096000"/>
              <a:gd name="connsiteY0" fmla="*/ 0 h 6223000"/>
              <a:gd name="connsiteX1" fmla="*/ 6096000 w 6096000"/>
              <a:gd name="connsiteY1" fmla="*/ 0 h 6223000"/>
              <a:gd name="connsiteX2" fmla="*/ 6096000 w 6096000"/>
              <a:gd name="connsiteY2" fmla="*/ 5356758 h 6223000"/>
              <a:gd name="connsiteX3" fmla="*/ 5229758 w 6096000"/>
              <a:gd name="connsiteY3" fmla="*/ 6223000 h 6223000"/>
              <a:gd name="connsiteX4" fmla="*/ 0 w 6096000"/>
              <a:gd name="connsiteY4" fmla="*/ 6223000 h 622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223000">
                <a:moveTo>
                  <a:pt x="0" y="0"/>
                </a:moveTo>
                <a:lnTo>
                  <a:pt x="6096000" y="0"/>
                </a:lnTo>
                <a:lnTo>
                  <a:pt x="6096000" y="5356758"/>
                </a:lnTo>
                <a:cubicBezTo>
                  <a:pt x="6096000" y="5835170"/>
                  <a:pt x="5708170" y="6223000"/>
                  <a:pt x="5229758" y="6223000"/>
                </a:cubicBezTo>
                <a:lnTo>
                  <a:pt x="0" y="6223000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470B864-D8FD-472B-9A86-77DCF86B9E6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/>
            <a:fld id="{81794AC1-133F-4524-BEED-E145AB933551}" type="datetime1">
              <a:rPr lang="de-DE" smtClean="0"/>
              <a:t>2022-01-1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C28D540-C8DE-4034-A254-7BB58C165E0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F89D174-75D8-4071-AA9C-8B2BD14EC03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02970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folie Vollbil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13E9D82D-5D08-4FC1-95C5-CD90A0D9356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6B8D83B-3D98-4471-AF20-0C67F30100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2816224"/>
            <a:ext cx="8064500" cy="1841501"/>
          </a:xfr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/>
              <a:t>Zitat </a:t>
            </a:r>
            <a:br>
              <a:rPr lang="de-DE"/>
            </a:br>
            <a:r>
              <a:rPr lang="de-DE"/>
              <a:t>einfüg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4AD187A-8A99-4D06-B785-2C21A941A8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87488" y="4657725"/>
            <a:ext cx="3095625" cy="608013"/>
          </a:xfrm>
        </p:spPr>
        <p:txBody>
          <a:bodyPr anchor="t"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/>
              <a:t>Autor Name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88AA59F2-37D4-43F8-B192-3887B7508CA5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1160919" y="7009500"/>
            <a:ext cx="457993" cy="101671"/>
          </a:xfrm>
        </p:spPr>
        <p:txBody>
          <a:bodyPr/>
          <a:lstStyle/>
          <a:p>
            <a:pPr algn="r"/>
            <a:fld id="{D8623D63-C5A1-4096-BE8A-5EC599A56E17}" type="datetime1">
              <a:rPr lang="de-DE" smtClean="0"/>
              <a:t>2022-01-13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1EEDA36-86DF-4B36-9DC1-5C5F714BDF4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8401051" y="7009500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8E83B89D-AEFA-4D2D-8474-085DB9B1468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725538" y="7009500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0" name="Textplatzhalter 117">
            <a:extLst>
              <a:ext uri="{FF2B5EF4-FFF2-40B4-BE49-F238E27FC236}">
                <a16:creationId xmlns:a16="http://schemas.microsoft.com/office/drawing/2014/main" id="{BE357662-367D-4A40-9798-9F75D1A3578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84582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BAD125F8-A201-4843-B9C3-EE473EBCF2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191995 w 12192000"/>
              <a:gd name="connsiteY3" fmla="*/ 6858000 h 6858000"/>
              <a:gd name="connsiteX4" fmla="*/ 12191995 w 12192000"/>
              <a:gd name="connsiteY4" fmla="*/ 6248399 h 6858000"/>
              <a:gd name="connsiteX5" fmla="*/ 1319758 w 12192000"/>
              <a:gd name="connsiteY5" fmla="*/ 6248399 h 6858000"/>
              <a:gd name="connsiteX6" fmla="*/ 418902 w 12192000"/>
              <a:gd name="connsiteY6" fmla="*/ 6727381 h 6858000"/>
              <a:gd name="connsiteX7" fmla="*/ 348004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91995" y="6858000"/>
                </a:lnTo>
                <a:lnTo>
                  <a:pt x="12191995" y="6248399"/>
                </a:lnTo>
                <a:lnTo>
                  <a:pt x="1319758" y="6248399"/>
                </a:lnTo>
                <a:cubicBezTo>
                  <a:pt x="944758" y="6248399"/>
                  <a:pt x="614135" y="6438398"/>
                  <a:pt x="418902" y="6727381"/>
                </a:cubicBezTo>
                <a:lnTo>
                  <a:pt x="34800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2" cy="367347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130E97F4-C217-4BA2-8F72-C0A2F1385488}"/>
              </a:ext>
            </a:extLst>
          </p:cNvPr>
          <p:cNvSpPr/>
          <p:nvPr userDrawn="1"/>
        </p:nvSpPr>
        <p:spPr>
          <a:xfrm flipH="1">
            <a:off x="544131" y="6112552"/>
            <a:ext cx="11658443" cy="756028"/>
          </a:xfrm>
          <a:custGeom>
            <a:avLst/>
            <a:gdLst>
              <a:gd name="connsiteX0" fmla="*/ 10720524 w 11658443"/>
              <a:gd name="connsiteY0" fmla="*/ 0 h 756028"/>
              <a:gd name="connsiteX1" fmla="*/ 0 w 11658443"/>
              <a:gd name="connsiteY1" fmla="*/ 0 h 756028"/>
              <a:gd name="connsiteX2" fmla="*/ 0 w 11658443"/>
              <a:gd name="connsiteY2" fmla="*/ 756028 h 756028"/>
              <a:gd name="connsiteX3" fmla="*/ 11658443 w 11658443"/>
              <a:gd name="connsiteY3" fmla="*/ 756028 h 756028"/>
              <a:gd name="connsiteX4" fmla="*/ 11605940 w 11658443"/>
              <a:gd name="connsiteY4" fmla="*/ 586893 h 756028"/>
              <a:gd name="connsiteX5" fmla="*/ 10720524 w 11658443"/>
              <a:gd name="connsiteY5" fmla="*/ 0 h 756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658443" h="756028">
                <a:moveTo>
                  <a:pt x="10720524" y="0"/>
                </a:moveTo>
                <a:lnTo>
                  <a:pt x="0" y="0"/>
                </a:lnTo>
                <a:lnTo>
                  <a:pt x="0" y="756028"/>
                </a:lnTo>
                <a:lnTo>
                  <a:pt x="11658443" y="756028"/>
                </a:lnTo>
                <a:lnTo>
                  <a:pt x="11605940" y="586893"/>
                </a:lnTo>
                <a:cubicBezTo>
                  <a:pt x="11460063" y="242001"/>
                  <a:pt x="11118555" y="0"/>
                  <a:pt x="10720524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1C8B4150-817E-4B8E-916F-E8B46846C44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5999" y="1592263"/>
            <a:ext cx="4608512" cy="367347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C16F1EDE-07DF-43AB-8A65-661E3310C7DD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6" cy="635012"/>
          </a:xfrm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E1693C54-214A-467B-94D9-3C6EEBB7A9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60FD036F-A46D-4314-8131-39D809908F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4D8268D6-65FC-417B-BB85-D567682934A8}"/>
                </a:ext>
              </a:extLst>
            </p:cNvPr>
            <p:cNvGrpSpPr/>
            <p:nvPr/>
          </p:nvGrpSpPr>
          <p:grpSpPr>
            <a:xfrm>
              <a:off x="1311217" y="1530579"/>
              <a:ext cx="1533582" cy="307590"/>
              <a:chOff x="3987943" y="2307132"/>
              <a:chExt cx="2607166" cy="522910"/>
            </a:xfrm>
          </p:grpSpPr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4172BB35-8858-49CD-96AE-FDCEE59F22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8">
                <a:extLst>
                  <a:ext uri="{FF2B5EF4-FFF2-40B4-BE49-F238E27FC236}">
                    <a16:creationId xmlns:a16="http://schemas.microsoft.com/office/drawing/2014/main" id="{F340F6B4-1EFA-483F-B118-558F6661B57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9">
                <a:extLst>
                  <a:ext uri="{FF2B5EF4-FFF2-40B4-BE49-F238E27FC236}">
                    <a16:creationId xmlns:a16="http://schemas.microsoft.com/office/drawing/2014/main" id="{67E7091C-7DB4-4F54-8BD2-10E16CA708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0">
                <a:extLst>
                  <a:ext uri="{FF2B5EF4-FFF2-40B4-BE49-F238E27FC236}">
                    <a16:creationId xmlns:a16="http://schemas.microsoft.com/office/drawing/2014/main" id="{4AC1E5B1-8B93-4B6A-9CE2-8CE4650B3F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1">
                <a:extLst>
                  <a:ext uri="{FF2B5EF4-FFF2-40B4-BE49-F238E27FC236}">
                    <a16:creationId xmlns:a16="http://schemas.microsoft.com/office/drawing/2014/main" id="{B1F3E871-E4D3-47AC-AB4F-2FD7CE3DC8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9" name="Freeform 12">
                <a:extLst>
                  <a:ext uri="{FF2B5EF4-FFF2-40B4-BE49-F238E27FC236}">
                    <a16:creationId xmlns:a16="http://schemas.microsoft.com/office/drawing/2014/main" id="{CCC5F6CC-254D-4796-85D0-A82C55A1BF6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3">
                <a:extLst>
                  <a:ext uri="{FF2B5EF4-FFF2-40B4-BE49-F238E27FC236}">
                    <a16:creationId xmlns:a16="http://schemas.microsoft.com/office/drawing/2014/main" id="{D01066B0-8E74-4F18-86ED-E60684F2B0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4">
                <a:extLst>
                  <a:ext uri="{FF2B5EF4-FFF2-40B4-BE49-F238E27FC236}">
                    <a16:creationId xmlns:a16="http://schemas.microsoft.com/office/drawing/2014/main" id="{EC483BAE-FA8E-412F-B79A-2DCC30C26BD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5">
                <a:extLst>
                  <a:ext uri="{FF2B5EF4-FFF2-40B4-BE49-F238E27FC236}">
                    <a16:creationId xmlns:a16="http://schemas.microsoft.com/office/drawing/2014/main" id="{EE2F4D82-F828-4479-AF1C-2DCE4FC556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6">
                <a:extLst>
                  <a:ext uri="{FF2B5EF4-FFF2-40B4-BE49-F238E27FC236}">
                    <a16:creationId xmlns:a16="http://schemas.microsoft.com/office/drawing/2014/main" id="{8A1DBB14-E57E-4B1F-A22A-35FA040005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D5F6429-6903-4DFA-8711-34C3DBEF5FF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C165115E-6BD8-4B70-996A-E6ABA048F002}" type="datetime1">
              <a:rPr lang="de-DE" smtClean="0"/>
              <a:t>2022-01-1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C01C9B1-F32F-4DD5-92C2-59AA306A341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5DA77D9-60AF-4B23-A340-0E478ACD3C0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5" name="Untertitel 2">
            <a:extLst>
              <a:ext uri="{FF2B5EF4-FFF2-40B4-BE49-F238E27FC236}">
                <a16:creationId xmlns:a16="http://schemas.microsoft.com/office/drawing/2014/main" id="{27A00C33-587D-4D8E-AF75-8F6919383E3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82519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fol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43B2B53F-4E76-4B5C-A72C-FAF82D9E2878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75201C21-CEDF-48CA-93BB-DCDE83D534C5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02C52DA6-D781-4567-9964-041EC68B06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220CFDCA-BA3A-42E0-B47F-9245B47DA7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6A0DAE39-70FF-48A6-8E27-8F70D93BDC9D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id="{0044B34A-C2D1-436E-B9BB-E778BCF8C4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4C9B4A84-E50E-4911-B5B2-518AAE16C82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4118E05D-B58E-4583-822E-8E801F1B71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1EFDAA4F-3A46-415B-B805-F62DCCDB31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0190A4D5-1889-4CEE-9622-126BC31DBD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DA77A66D-1283-4A5A-9E1F-9A051D2A2E8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03C6FEEB-6794-4EB2-9610-8A0576ADB8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349A3C5C-A554-4AC4-9892-85FEFE1EABC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E78FD7B2-7ED7-43BD-853B-C6FD3A728F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312FEFA6-7DF0-46EC-BA10-172F3435D8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2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0A241901-4314-4749-BA37-8BFED61F3C7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/>
            <a:fld id="{A32380C6-C2A2-4FF7-BFE8-FFE5DAF5C9ED}" type="datetime1">
              <a:rPr lang="de-DE" smtClean="0"/>
              <a:t>2022-01-13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72963B00-689C-4933-A4CB-D08E8780A83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2C85099F-F1E7-44DA-A203-9C60530ED48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9" name="Untertitel 2">
            <a:extLst>
              <a:ext uri="{FF2B5EF4-FFF2-40B4-BE49-F238E27FC236}">
                <a16:creationId xmlns:a16="http://schemas.microsoft.com/office/drawing/2014/main" id="{8506E623-81AF-4305-B98E-DF4C35EBBD3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63224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ild 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hteck 45">
            <a:extLst>
              <a:ext uri="{FF2B5EF4-FFF2-40B4-BE49-F238E27FC236}">
                <a16:creationId xmlns:a16="http://schemas.microsoft.com/office/drawing/2014/main" id="{3D2A4342-772C-454C-9FB8-F488668A682D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6913562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3A90691E-716D-4DE3-BDD9-DFE364F3C8D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8401050" y="0"/>
            <a:ext cx="3790950" cy="5990252"/>
          </a:xfrm>
          <a:custGeom>
            <a:avLst/>
            <a:gdLst>
              <a:gd name="connsiteX0" fmla="*/ 0 w 3790950"/>
              <a:gd name="connsiteY0" fmla="*/ 0 h 5990252"/>
              <a:gd name="connsiteX1" fmla="*/ 3790950 w 3790950"/>
              <a:gd name="connsiteY1" fmla="*/ 0 h 5990252"/>
              <a:gd name="connsiteX2" fmla="*/ 3790950 w 3790950"/>
              <a:gd name="connsiteY2" fmla="*/ 5990252 h 5990252"/>
              <a:gd name="connsiteX3" fmla="*/ 861219 w 3790950"/>
              <a:gd name="connsiteY3" fmla="*/ 5990252 h 5990252"/>
              <a:gd name="connsiteX4" fmla="*/ 0 w 3790950"/>
              <a:gd name="connsiteY4" fmla="*/ 5129033 h 599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90950" h="5990252">
                <a:moveTo>
                  <a:pt x="0" y="0"/>
                </a:moveTo>
                <a:lnTo>
                  <a:pt x="3790950" y="0"/>
                </a:lnTo>
                <a:lnTo>
                  <a:pt x="3790950" y="5990252"/>
                </a:lnTo>
                <a:lnTo>
                  <a:pt x="861219" y="5990252"/>
                </a:lnTo>
                <a:cubicBezTo>
                  <a:pt x="385581" y="5990252"/>
                  <a:pt x="0" y="5604671"/>
                  <a:pt x="0" y="512903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223D12F-5BA2-4212-90D8-C3F2987139E1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 algn="r"/>
            <a:fld id="{677840E1-564A-4293-AD4D-36BD23F5BB6D}" type="datetime1">
              <a:rPr lang="de-DE" smtClean="0"/>
              <a:t>2022-01-1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2B1AFC9-741A-4EC5-8430-DC0E85F28FA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D9EA5FB-BF30-46C2-B765-2D66629D139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platzhalter 117">
            <a:extLst>
              <a:ext uri="{FF2B5EF4-FFF2-40B4-BE49-F238E27FC236}">
                <a16:creationId xmlns:a16="http://schemas.microsoft.com/office/drawing/2014/main" id="{E1B82D6B-28E6-4BDE-BF4D-24E61A53183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A283F8AB-A46A-4870-8362-DF12D7EC4B8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727138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ild 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60CFFCAA-FE4E-4313-92E3-61D46429689A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2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33FA860D-0A1E-41CA-B1A0-2CE3754EDE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096000" y="1"/>
            <a:ext cx="6096000" cy="5990252"/>
          </a:xfrm>
          <a:custGeom>
            <a:avLst/>
            <a:gdLst>
              <a:gd name="connsiteX0" fmla="*/ 0 w 6096000"/>
              <a:gd name="connsiteY0" fmla="*/ 0 h 5990252"/>
              <a:gd name="connsiteX1" fmla="*/ 6096000 w 6096000"/>
              <a:gd name="connsiteY1" fmla="*/ 0 h 5990252"/>
              <a:gd name="connsiteX2" fmla="*/ 6096000 w 6096000"/>
              <a:gd name="connsiteY2" fmla="*/ 5990252 h 5990252"/>
              <a:gd name="connsiteX3" fmla="*/ 861219 w 6096000"/>
              <a:gd name="connsiteY3" fmla="*/ 5990252 h 5990252"/>
              <a:gd name="connsiteX4" fmla="*/ 0 w 6096000"/>
              <a:gd name="connsiteY4" fmla="*/ 5129033 h 599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5990252">
                <a:moveTo>
                  <a:pt x="0" y="0"/>
                </a:moveTo>
                <a:lnTo>
                  <a:pt x="6096000" y="0"/>
                </a:lnTo>
                <a:lnTo>
                  <a:pt x="6096000" y="5990252"/>
                </a:lnTo>
                <a:lnTo>
                  <a:pt x="861219" y="5990252"/>
                </a:lnTo>
                <a:cubicBezTo>
                  <a:pt x="385581" y="5990252"/>
                  <a:pt x="0" y="5604671"/>
                  <a:pt x="0" y="512903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B53A2B0-760E-4033-91D7-8649FC3A050C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3955964A-9868-42A9-8718-D3F39E0E756C}" type="datetime1">
              <a:rPr lang="de-DE" smtClean="0"/>
              <a:t>2022-01-1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E991CD1-EC6E-43B8-8B3F-4B3737746BE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D784862-17BF-429A-BCE7-BD798D825FD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platzhalter 117">
            <a:extLst>
              <a:ext uri="{FF2B5EF4-FFF2-40B4-BE49-F238E27FC236}">
                <a16:creationId xmlns:a16="http://schemas.microsoft.com/office/drawing/2014/main" id="{8CA28BF6-CD77-4A2E-A2AD-EB98ED41B5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9783F2F5-2C34-4E75-8D38-8A94BCBFDDE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3971932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ild 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317B55F7-F5B3-46AC-9AB6-55579C09F6E2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2305050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2301875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43E2C865-4F6F-4FFB-9FA5-5FFFFBBB051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792538" y="0"/>
            <a:ext cx="8399462" cy="5990252"/>
          </a:xfrm>
          <a:custGeom>
            <a:avLst/>
            <a:gdLst>
              <a:gd name="connsiteX0" fmla="*/ 0 w 8399462"/>
              <a:gd name="connsiteY0" fmla="*/ 0 h 5990252"/>
              <a:gd name="connsiteX1" fmla="*/ 8399462 w 8399462"/>
              <a:gd name="connsiteY1" fmla="*/ 0 h 5990252"/>
              <a:gd name="connsiteX2" fmla="*/ 8399462 w 8399462"/>
              <a:gd name="connsiteY2" fmla="*/ 5990252 h 5990252"/>
              <a:gd name="connsiteX3" fmla="*/ 861219 w 8399462"/>
              <a:gd name="connsiteY3" fmla="*/ 5990252 h 5990252"/>
              <a:gd name="connsiteX4" fmla="*/ 0 w 8399462"/>
              <a:gd name="connsiteY4" fmla="*/ 5129033 h 599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399462" h="5990252">
                <a:moveTo>
                  <a:pt x="0" y="0"/>
                </a:moveTo>
                <a:lnTo>
                  <a:pt x="8399462" y="0"/>
                </a:lnTo>
                <a:lnTo>
                  <a:pt x="8399462" y="5990252"/>
                </a:lnTo>
                <a:lnTo>
                  <a:pt x="861219" y="5990252"/>
                </a:lnTo>
                <a:cubicBezTo>
                  <a:pt x="385581" y="5990252"/>
                  <a:pt x="0" y="5604671"/>
                  <a:pt x="0" y="512903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B0E5F44-7D73-4948-A7F2-232AB4FF03C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F3AC0D30-CC85-42B5-A3C1-3B07CCB64BFA}" type="datetime1">
              <a:rPr lang="de-DE" smtClean="0"/>
              <a:t>2022-01-1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FA77F78-4CC6-4F26-8568-3DB995886CD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1FCC11E2-1CDF-49C5-9FE1-DB63FC68EC2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platzhalter 117">
            <a:extLst>
              <a:ext uri="{FF2B5EF4-FFF2-40B4-BE49-F238E27FC236}">
                <a16:creationId xmlns:a16="http://schemas.microsoft.com/office/drawing/2014/main" id="{E884F540-0080-4436-99F9-12F8A496165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79AF8DAB-B5CB-408F-A6E8-493F2E1DB3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2301875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944570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Handy Mock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4FB74C79-6B2D-447C-A2E5-85FB3B12B787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D37BE5F2-D7FB-4977-8AF7-D18E307485C0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7167D78A-F631-4872-8F60-EFB6C3F3F2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EC11866A-2BDE-489A-8672-1BDDD2DDCA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412BBC8C-A999-4145-8AF2-263B11FCF75C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id="{757D08F4-328E-40C1-B69B-14F4437DE1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25251DDD-805D-4D26-BF44-4C9F5441CA2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FC4DAFC4-E681-44F5-B923-1F20567D25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EBAA4CDC-2750-471B-AD22-96D8C847C9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DC2428D3-3B70-4634-A5C7-5803307737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3E7E9CD4-A2C5-419E-9B44-13A4212813D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498E6F53-74C9-452A-9930-4FBABABA06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DBED4D4F-FE8B-4103-97F7-7BFC82163AF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E3A5F04A-8433-42FB-9FB9-A2B210CE6A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A49C6C45-95C3-4970-9C5B-9B96FA94F5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 userDrawn="1"/>
        </p:nvSpPr>
        <p:spPr>
          <a:xfrm>
            <a:off x="7812776" y="1130300"/>
            <a:ext cx="2293249" cy="4800600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5761037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4" name="Grafik 13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8154BCEC-D9D2-4955-A59E-FC7B39327B5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736702" y="686312"/>
            <a:ext cx="4049097" cy="6273288"/>
          </a:xfrm>
          <a:prstGeom prst="rect">
            <a:avLst/>
          </a:prstGeom>
        </p:spPr>
      </p:pic>
      <p:sp>
        <p:nvSpPr>
          <p:cNvPr id="48" name="Bildplatzhalter 47">
            <a:extLst>
              <a:ext uri="{FF2B5EF4-FFF2-40B4-BE49-F238E27FC236}">
                <a16:creationId xmlns:a16="http://schemas.microsoft.com/office/drawing/2014/main" id="{21BB63CB-D1F9-47F4-BC55-11AD749DA26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188325" y="834258"/>
            <a:ext cx="2235362" cy="4833117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2EF9841-421F-4152-880D-BBF3BBD10B58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90D2F767-1EB3-4084-AB86-30838F4D4470}" type="datetime1">
              <a:rPr lang="de-DE" smtClean="0"/>
              <a:t>2022-01-13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A86F7D5-69CA-4283-8022-108E607FC8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0EDD423B-497D-4CCF-A170-87E1DA4963E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9" name="Untertitel 2">
            <a:extLst>
              <a:ext uri="{FF2B5EF4-FFF2-40B4-BE49-F238E27FC236}">
                <a16:creationId xmlns:a16="http://schemas.microsoft.com/office/drawing/2014/main" id="{C0ED0037-8855-4204-8BDE-DF1CD6E8F54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582000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Handy Mock Up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4FB74C79-6B2D-447C-A2E5-85FB3B12B787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D37BE5F2-D7FB-4977-8AF7-D18E307485C0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7167D78A-F631-4872-8F60-EFB6C3F3F2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EC11866A-2BDE-489A-8672-1BDDD2DDCA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412BBC8C-A999-4145-8AF2-263B11FCF75C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id="{757D08F4-328E-40C1-B69B-14F4437DE1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25251DDD-805D-4D26-BF44-4C9F5441CA2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FC4DAFC4-E681-44F5-B923-1F20567D25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EBAA4CDC-2750-471B-AD22-96D8C847C9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DC2428D3-3B70-4634-A5C7-5803307737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3E7E9CD4-A2C5-419E-9B44-13A4212813D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498E6F53-74C9-452A-9930-4FBABABA06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DBED4D4F-FE8B-4103-97F7-7BFC82163AF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E3A5F04A-8433-42FB-9FB9-A2B210CE6A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A49C6C45-95C3-4970-9C5B-9B96FA94F5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/>
        </p:nvSpPr>
        <p:spPr>
          <a:xfrm>
            <a:off x="7812776" y="1130300"/>
            <a:ext cx="2293249" cy="4800600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5761037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4" name="Grafik 13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8154BCEC-D9D2-4955-A59E-FC7B39327B5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36702" y="686312"/>
            <a:ext cx="4049097" cy="6273288"/>
          </a:xfrm>
          <a:prstGeom prst="rect">
            <a:avLst/>
          </a:prstGeom>
        </p:spPr>
      </p:pic>
      <p:sp>
        <p:nvSpPr>
          <p:cNvPr id="48" name="Bildplatzhalter 47">
            <a:extLst>
              <a:ext uri="{FF2B5EF4-FFF2-40B4-BE49-F238E27FC236}">
                <a16:creationId xmlns:a16="http://schemas.microsoft.com/office/drawing/2014/main" id="{21BB63CB-D1F9-47F4-BC55-11AD749DA26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188325" y="834258"/>
            <a:ext cx="2235362" cy="4833117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2EF9841-421F-4152-880D-BBF3BBD10B58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28792EB2-4E32-4A9E-A6F2-23FEAFD1B340}" type="datetime1">
              <a:rPr lang="de-DE" smtClean="0"/>
              <a:t>2022-01-13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A86F7D5-69CA-4283-8022-108E607FC8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0EDD423B-497D-4CCF-A170-87E1DA4963E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9" name="Untertitel 2">
            <a:extLst>
              <a:ext uri="{FF2B5EF4-FFF2-40B4-BE49-F238E27FC236}">
                <a16:creationId xmlns:a16="http://schemas.microsoft.com/office/drawing/2014/main" id="{43AA36A9-77D1-44BE-BA4D-47000688CC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215533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Handy Mock Up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FEB09ED1-D2C0-4AA9-B708-2A32DD37818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3429000 h 6858000"/>
              <a:gd name="connsiteX3" fmla="*/ 7023099 w 12192000"/>
              <a:gd name="connsiteY3" fmla="*/ 3429000 h 6858000"/>
              <a:gd name="connsiteX4" fmla="*/ 6096000 w 12192000"/>
              <a:gd name="connsiteY4" fmla="*/ 4356099 h 6858000"/>
              <a:gd name="connsiteX5" fmla="*/ 6096000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7023099" y="3429000"/>
                </a:lnTo>
                <a:cubicBezTo>
                  <a:pt x="6511076" y="3429000"/>
                  <a:pt x="6096000" y="3844076"/>
                  <a:pt x="6096000" y="4356099"/>
                </a:cubicBez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 userDrawn="1"/>
        </p:nvSpPr>
        <p:spPr>
          <a:xfrm>
            <a:off x="7812776" y="1130300"/>
            <a:ext cx="2293249" cy="4800600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8138" y="1592263"/>
            <a:ext cx="4605338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9" name="Grafik 1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04A93760-5CB7-4A71-88CE-5A17695854F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736702" y="686312"/>
            <a:ext cx="4049097" cy="6273288"/>
          </a:xfrm>
          <a:prstGeom prst="rect">
            <a:avLst/>
          </a:prstGeom>
        </p:spPr>
      </p:pic>
      <p:sp>
        <p:nvSpPr>
          <p:cNvPr id="12" name="Bildplatzhalter 47">
            <a:extLst>
              <a:ext uri="{FF2B5EF4-FFF2-40B4-BE49-F238E27FC236}">
                <a16:creationId xmlns:a16="http://schemas.microsoft.com/office/drawing/2014/main" id="{9FFF591E-DE1B-4866-BA8A-50846A0938A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188325" y="834258"/>
            <a:ext cx="2235362" cy="4833117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9FAA5AB-AF5D-45FC-9331-37CB30DA67F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325B5465-59C0-4A93-9A9A-909B9B6D9B57}" type="datetime1">
              <a:rPr lang="de-DE" smtClean="0"/>
              <a:t>2022-01-13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586052F2-2BEC-49E6-B1FD-629E3243462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CC481FCD-D56C-4922-BAFD-224BE4BC24F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01E1623E-C7C8-456D-B712-2ACDFE584EBB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5" cy="635012"/>
          </a:xfrm>
        </p:grpSpPr>
        <p:sp>
          <p:nvSpPr>
            <p:cNvPr id="14" name="Oval 5">
              <a:extLst>
                <a:ext uri="{FF2B5EF4-FFF2-40B4-BE49-F238E27FC236}">
                  <a16:creationId xmlns:a16="http://schemas.microsoft.com/office/drawing/2014/main" id="{358E2997-F269-4B55-819A-BD949E9783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576BB871-46F7-4C87-A566-E27C94415E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1553D4F3-B8D5-4E12-8C8B-CA8D8E2770C0}"/>
                </a:ext>
              </a:extLst>
            </p:cNvPr>
            <p:cNvGrpSpPr/>
            <p:nvPr/>
          </p:nvGrpSpPr>
          <p:grpSpPr>
            <a:xfrm>
              <a:off x="1311216" y="1530579"/>
              <a:ext cx="1533582" cy="307590"/>
              <a:chOff x="3987943" y="2307132"/>
              <a:chExt cx="2607166" cy="522910"/>
            </a:xfrm>
          </p:grpSpPr>
          <p:sp>
            <p:nvSpPr>
              <p:cNvPr id="18" name="Freeform 7">
                <a:extLst>
                  <a:ext uri="{FF2B5EF4-FFF2-40B4-BE49-F238E27FC236}">
                    <a16:creationId xmlns:a16="http://schemas.microsoft.com/office/drawing/2014/main" id="{27F14C16-9401-415C-8BD8-DEE7D893D8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0D470AC2-F14B-419D-9CAB-34FCD7601E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D544B772-451B-4E62-A44C-36EEB45F0E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F3045032-1089-4088-B9C1-C273C1BDBB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F21C82FE-8694-4686-BBB5-827622BDA3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44A7E0A4-CDDC-416C-AC69-00FF083A8DC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9DB17AFF-3E32-4842-B851-1F44A3300B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7A4A52D1-E196-43E8-A898-BE5460788F3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05E985F5-C685-49A8-AA2F-949F5BFF5A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DFBA3D12-4595-491A-9605-D4FFC67076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Untertitel 2">
            <a:extLst>
              <a:ext uri="{FF2B5EF4-FFF2-40B4-BE49-F238E27FC236}">
                <a16:creationId xmlns:a16="http://schemas.microsoft.com/office/drawing/2014/main" id="{963B6C51-6928-4ECE-8246-BA1DFEDCE3E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591352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 Handy Mock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F693E912-CA16-42BD-9B13-E1115EE96111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889F97A2-ABF2-4D64-AA66-7883CE332E97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6" name="Oval 5">
              <a:extLst>
                <a:ext uri="{FF2B5EF4-FFF2-40B4-BE49-F238E27FC236}">
                  <a16:creationId xmlns:a16="http://schemas.microsoft.com/office/drawing/2014/main" id="{66F7C95D-74B4-4F5C-BBA7-91A1AB90BE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3D9B1101-3E32-4271-B4DC-D4062FF254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8" name="Gruppieren 27">
              <a:extLst>
                <a:ext uri="{FF2B5EF4-FFF2-40B4-BE49-F238E27FC236}">
                  <a16:creationId xmlns:a16="http://schemas.microsoft.com/office/drawing/2014/main" id="{9829AB22-8D52-461F-B440-26A77B86CB0D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29" name="Freeform 7">
                <a:extLst>
                  <a:ext uri="{FF2B5EF4-FFF2-40B4-BE49-F238E27FC236}">
                    <a16:creationId xmlns:a16="http://schemas.microsoft.com/office/drawing/2014/main" id="{4CF857CC-2901-4F42-9233-853B5D63AE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8">
                <a:extLst>
                  <a:ext uri="{FF2B5EF4-FFF2-40B4-BE49-F238E27FC236}">
                    <a16:creationId xmlns:a16="http://schemas.microsoft.com/office/drawing/2014/main" id="{11FE3F05-9217-42BC-80A9-AAC7E6E849E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9">
                <a:extLst>
                  <a:ext uri="{FF2B5EF4-FFF2-40B4-BE49-F238E27FC236}">
                    <a16:creationId xmlns:a16="http://schemas.microsoft.com/office/drawing/2014/main" id="{16B3B9FE-F133-438D-AD84-EC51942391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0">
                <a:extLst>
                  <a:ext uri="{FF2B5EF4-FFF2-40B4-BE49-F238E27FC236}">
                    <a16:creationId xmlns:a16="http://schemas.microsoft.com/office/drawing/2014/main" id="{8FBD55AD-9814-4F26-B91E-D2C4B92999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1">
                <a:extLst>
                  <a:ext uri="{FF2B5EF4-FFF2-40B4-BE49-F238E27FC236}">
                    <a16:creationId xmlns:a16="http://schemas.microsoft.com/office/drawing/2014/main" id="{C30F0D69-4CC1-4454-B748-72DFF851EB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2">
                <a:extLst>
                  <a:ext uri="{FF2B5EF4-FFF2-40B4-BE49-F238E27FC236}">
                    <a16:creationId xmlns:a16="http://schemas.microsoft.com/office/drawing/2014/main" id="{0AAA4B98-3BAE-4F2F-872C-6C32595267F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3">
                <a:extLst>
                  <a:ext uri="{FF2B5EF4-FFF2-40B4-BE49-F238E27FC236}">
                    <a16:creationId xmlns:a16="http://schemas.microsoft.com/office/drawing/2014/main" id="{F07DF6E7-F0CD-4ED2-87FD-6841CDC592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4">
                <a:extLst>
                  <a:ext uri="{FF2B5EF4-FFF2-40B4-BE49-F238E27FC236}">
                    <a16:creationId xmlns:a16="http://schemas.microsoft.com/office/drawing/2014/main" id="{9A456FC8-BDB6-4546-ABF9-E769BDB6F0F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5">
                <a:extLst>
                  <a:ext uri="{FF2B5EF4-FFF2-40B4-BE49-F238E27FC236}">
                    <a16:creationId xmlns:a16="http://schemas.microsoft.com/office/drawing/2014/main" id="{6C563657-972E-403C-94BC-040D3D7BAB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6">
                <a:extLst>
                  <a:ext uri="{FF2B5EF4-FFF2-40B4-BE49-F238E27FC236}">
                    <a16:creationId xmlns:a16="http://schemas.microsoft.com/office/drawing/2014/main" id="{BAFE9A3D-A61B-4444-B4F4-796B96D8ED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4" y="1592263"/>
            <a:ext cx="3672850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2EF9841-421F-4152-880D-BBF3BBD10B58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B4BECF75-DCFA-416E-BCCE-CC1FF822A77E}" type="datetime1">
              <a:rPr lang="de-DE" smtClean="0"/>
              <a:t>2022-01-13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A86F7D5-69CA-4283-8022-108E607FC8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0EDD423B-497D-4CCF-A170-87E1DA4963E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C2346866-6A4B-4F6D-B6A3-C5F9E9CC4A34}"/>
              </a:ext>
            </a:extLst>
          </p:cNvPr>
          <p:cNvSpPr/>
          <p:nvPr/>
        </p:nvSpPr>
        <p:spPr>
          <a:xfrm>
            <a:off x="4799975" y="1873261"/>
            <a:ext cx="1451388" cy="3038279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pic>
        <p:nvPicPr>
          <p:cNvPr id="15" name="Grafik 14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A2ECC125-1D19-463D-901C-78124C185B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18932" y="1592263"/>
            <a:ext cx="2562657" cy="3970337"/>
          </a:xfrm>
          <a:prstGeom prst="rect">
            <a:avLst/>
          </a:prstGeom>
        </p:spPr>
      </p:pic>
      <p:sp>
        <p:nvSpPr>
          <p:cNvPr id="18" name="Rechteck: abgerundete Ecken 17">
            <a:extLst>
              <a:ext uri="{FF2B5EF4-FFF2-40B4-BE49-F238E27FC236}">
                <a16:creationId xmlns:a16="http://schemas.microsoft.com/office/drawing/2014/main" id="{8068B0AF-45C9-4587-80AA-5FB0C48136E6}"/>
              </a:ext>
            </a:extLst>
          </p:cNvPr>
          <p:cNvSpPr/>
          <p:nvPr/>
        </p:nvSpPr>
        <p:spPr>
          <a:xfrm>
            <a:off x="8253833" y="1873261"/>
            <a:ext cx="1451388" cy="3038279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pic>
        <p:nvPicPr>
          <p:cNvPr id="19" name="Grafik 1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4EA724CD-CCCA-40EB-9BBF-7E7FF8A98E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72790" y="1592263"/>
            <a:ext cx="2562657" cy="3970337"/>
          </a:xfrm>
          <a:prstGeom prst="rect">
            <a:avLst/>
          </a:prstGeom>
        </p:spPr>
      </p:pic>
      <p:sp>
        <p:nvSpPr>
          <p:cNvPr id="35" name="Bildplatzhalter 47">
            <a:extLst>
              <a:ext uri="{FF2B5EF4-FFF2-40B4-BE49-F238E27FC236}">
                <a16:creationId xmlns:a16="http://schemas.microsoft.com/office/drawing/2014/main" id="{491BA93E-E5F3-48AC-A3BA-B7D4CD7DBEC5}"/>
              </a:ext>
            </a:extLst>
          </p:cNvPr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5037658" y="1685897"/>
            <a:ext cx="1414752" cy="3055001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37" name="Bildplatzhalter 47">
            <a:extLst>
              <a:ext uri="{FF2B5EF4-FFF2-40B4-BE49-F238E27FC236}">
                <a16:creationId xmlns:a16="http://schemas.microsoft.com/office/drawing/2014/main" id="{574E156E-CBCD-45CF-AAC9-84D35B20AAC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8491516" y="1685897"/>
            <a:ext cx="1414752" cy="3055001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38" name="Textplatzhalter 5">
            <a:extLst>
              <a:ext uri="{FF2B5EF4-FFF2-40B4-BE49-F238E27FC236}">
                <a16:creationId xmlns:a16="http://schemas.microsoft.com/office/drawing/2014/main" id="{C0A94FD5-C278-4C7F-A805-75DA9B93B8F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943474" y="5149895"/>
            <a:ext cx="2228035" cy="412706"/>
          </a:xfrm>
        </p:spPr>
        <p:txBody>
          <a:bodyPr anchor="t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1</a:t>
            </a:r>
          </a:p>
        </p:txBody>
      </p:sp>
      <p:sp>
        <p:nvSpPr>
          <p:cNvPr id="20" name="Textplatzhalter 5">
            <a:extLst>
              <a:ext uri="{FF2B5EF4-FFF2-40B4-BE49-F238E27FC236}">
                <a16:creationId xmlns:a16="http://schemas.microsoft.com/office/drawing/2014/main" id="{5676D185-2C51-4F27-B9D6-5A1E42D749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01051" y="5149895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2</a:t>
            </a:r>
          </a:p>
        </p:txBody>
      </p:sp>
      <p:sp>
        <p:nvSpPr>
          <p:cNvPr id="21" name="Textplatzhalter 28">
            <a:extLst>
              <a:ext uri="{FF2B5EF4-FFF2-40B4-BE49-F238E27FC236}">
                <a16:creationId xmlns:a16="http://schemas.microsoft.com/office/drawing/2014/main" id="{43C8CC5A-2B84-4101-830B-BCD94185DE4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43474" y="5562601"/>
            <a:ext cx="2665414" cy="711199"/>
          </a:xfrm>
        </p:spPr>
        <p:txBody>
          <a:bodyPr anchor="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2" name="Textplatzhalter 28">
            <a:extLst>
              <a:ext uri="{FF2B5EF4-FFF2-40B4-BE49-F238E27FC236}">
                <a16:creationId xmlns:a16="http://schemas.microsoft.com/office/drawing/2014/main" id="{C3041C11-8D41-447B-B837-FF9F7E94DC8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01051" y="5562601"/>
            <a:ext cx="2665414" cy="711199"/>
          </a:xfrm>
        </p:spPr>
        <p:txBody>
          <a:bodyPr anchor="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42" name="Untertitel 2">
            <a:extLst>
              <a:ext uri="{FF2B5EF4-FFF2-40B4-BE49-F238E27FC236}">
                <a16:creationId xmlns:a16="http://schemas.microsoft.com/office/drawing/2014/main" id="{B796C412-2391-4B89-B883-7C0977F0D2D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41103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iPad Mock Up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>
            <a:extLst>
              <a:ext uri="{FF2B5EF4-FFF2-40B4-BE49-F238E27FC236}">
                <a16:creationId xmlns:a16="http://schemas.microsoft.com/office/drawing/2014/main" id="{9817B505-4B55-464A-865B-A7066700ECCA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 userDrawn="1"/>
        </p:nvSpPr>
        <p:spPr>
          <a:xfrm>
            <a:off x="7039363" y="883805"/>
            <a:ext cx="3838704" cy="5024482"/>
          </a:xfrm>
          <a:prstGeom prst="roundRect">
            <a:avLst>
              <a:gd name="adj" fmla="val 786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5761037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610447DE-E9B1-426F-82A5-E201443FF2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0770" t="2076" r="21396"/>
          <a:stretch/>
        </p:blipFill>
        <p:spPr>
          <a:xfrm>
            <a:off x="4943475" y="0"/>
            <a:ext cx="7248525" cy="6715642"/>
          </a:xfrm>
          <a:prstGeom prst="rect">
            <a:avLst/>
          </a:prstGeom>
        </p:spPr>
      </p:pic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034FB8A-2730-47DE-9C0C-033D8CB058B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346951" y="863600"/>
            <a:ext cx="3540124" cy="4718049"/>
          </a:xfrm>
          <a:prstGeom prst="roundRect">
            <a:avLst>
              <a:gd name="adj" fmla="val 1667"/>
            </a:avLst>
          </a:prstGeo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7176DD0E-9929-4538-ACFB-E458064BEE1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047B122C-BE23-4A42-9BC2-C46271479259}" type="datetime1">
              <a:rPr lang="de-DE" smtClean="0"/>
              <a:t>2022-01-13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6E9E8ECA-2D12-46E2-8C00-0D84AE7CF77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C25A6720-D3C1-4E2C-85FF-10DE442AAA0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8D0648D1-40D0-4A4A-BC6E-D382A685554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479848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iPad Mock Up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2C37800F-9453-4EDC-97E8-0481E758488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3429000 h 6858000"/>
              <a:gd name="connsiteX3" fmla="*/ 7023099 w 12192000"/>
              <a:gd name="connsiteY3" fmla="*/ 3429000 h 6858000"/>
              <a:gd name="connsiteX4" fmla="*/ 6096000 w 12192000"/>
              <a:gd name="connsiteY4" fmla="*/ 4356099 h 6858000"/>
              <a:gd name="connsiteX5" fmla="*/ 6096000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7023099" y="3429000"/>
                </a:lnTo>
                <a:cubicBezTo>
                  <a:pt x="6511076" y="3429000"/>
                  <a:pt x="6096000" y="3844076"/>
                  <a:pt x="6096000" y="4356099"/>
                </a:cubicBez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 userDrawn="1"/>
        </p:nvSpPr>
        <p:spPr>
          <a:xfrm>
            <a:off x="7039363" y="883805"/>
            <a:ext cx="3838704" cy="5024482"/>
          </a:xfrm>
          <a:prstGeom prst="roundRect">
            <a:avLst>
              <a:gd name="adj" fmla="val 786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3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610447DE-E9B1-426F-82A5-E201443FF2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7399" t="2076" r="21395"/>
          <a:stretch/>
        </p:blipFill>
        <p:spPr>
          <a:xfrm>
            <a:off x="4583113" y="0"/>
            <a:ext cx="7608887" cy="6715642"/>
          </a:xfrm>
          <a:prstGeom prst="rect">
            <a:avLst/>
          </a:prstGeom>
          <a:ln>
            <a:noFill/>
          </a:ln>
        </p:spPr>
      </p:pic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034FB8A-2730-47DE-9C0C-033D8CB058B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346951" y="863600"/>
            <a:ext cx="3540124" cy="4718049"/>
          </a:xfrm>
          <a:prstGeom prst="roundRect">
            <a:avLst>
              <a:gd name="adj" fmla="val 1667"/>
            </a:avLst>
          </a:prstGeo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EE2E0E08-E5AC-46D2-99B4-35BA98B72A2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C7C6E4DF-3146-4725-A0C9-9DF4F2EDD845}" type="datetime1">
              <a:rPr lang="de-DE" smtClean="0"/>
              <a:t>2022-01-13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3D9E1DE6-5FAE-435F-8AB8-2D86709EE6F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EE4286F4-D689-4FFC-91E4-90B2645B9A9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C6753097-1DB3-419A-91AC-D5B72E871A6B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5" cy="635012"/>
          </a:xfrm>
        </p:grpSpPr>
        <p:sp>
          <p:nvSpPr>
            <p:cNvPr id="15" name="Oval 5">
              <a:extLst>
                <a:ext uri="{FF2B5EF4-FFF2-40B4-BE49-F238E27FC236}">
                  <a16:creationId xmlns:a16="http://schemas.microsoft.com/office/drawing/2014/main" id="{D9D85354-3FEE-4119-853F-1445998749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CD487532-8521-417D-A048-8C4669F44C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9BD55D0F-593D-4A0D-BDE4-5B4526B1B436}"/>
                </a:ext>
              </a:extLst>
            </p:cNvPr>
            <p:cNvGrpSpPr/>
            <p:nvPr/>
          </p:nvGrpSpPr>
          <p:grpSpPr>
            <a:xfrm>
              <a:off x="1311216" y="1530579"/>
              <a:ext cx="1533582" cy="307590"/>
              <a:chOff x="3987943" y="2307132"/>
              <a:chExt cx="2607166" cy="522910"/>
            </a:xfrm>
          </p:grpSpPr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id="{88A73487-47E1-40BC-8038-B766B67DE0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766DB691-F432-4C12-AD93-97CDBC51174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5B123C74-CC3A-4AD1-9730-E708E9E6CB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23C307AD-317D-49F1-A441-ED1F085FA2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32A47BD3-B6FB-4D5B-8877-027C93A600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9CA9328C-1744-4387-B2F3-894A3FDF23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A9FB15DC-2278-452D-9B77-04B672B950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7F9A4067-A3D0-46C1-A9A2-E06E9AE5E9D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28C6CDC7-E6AB-4633-989A-4AA770A644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E6F3B9CD-F6AE-4110-B914-353C627514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Untertitel 2">
            <a:extLst>
              <a:ext uri="{FF2B5EF4-FFF2-40B4-BE49-F238E27FC236}">
                <a16:creationId xmlns:a16="http://schemas.microsoft.com/office/drawing/2014/main" id="{5EE68F0F-C19E-45E9-BD75-8FC500F3930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410664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ext Handy Mock Up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F088F803-F1C4-4596-A9D5-8C03BAD0BD6E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8138" y="1592263"/>
            <a:ext cx="4605338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2" name="Grafik 11" descr="Ein Bild, das Screenshot, Laptop, Monitor, Computer enthält.&#10;&#10;Automatisch generierte Beschreibung">
            <a:extLst>
              <a:ext uri="{FF2B5EF4-FFF2-40B4-BE49-F238E27FC236}">
                <a16:creationId xmlns:a16="http://schemas.microsoft.com/office/drawing/2014/main" id="{FA77D189-6797-4577-BAA8-586C620A049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9256" t="1596" r="17397" b="11922"/>
          <a:stretch/>
        </p:blipFill>
        <p:spPr>
          <a:xfrm>
            <a:off x="4664075" y="927099"/>
            <a:ext cx="7248525" cy="5930901"/>
          </a:xfrm>
          <a:prstGeom prst="rect">
            <a:avLst/>
          </a:prstGeom>
        </p:spPr>
      </p:pic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A3D237B3-D03E-4E3B-843B-878E7432337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13450" y="2308224"/>
            <a:ext cx="4924425" cy="3073401"/>
          </a:xfr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70EB910-E9BB-4098-920D-18DAC1BCAF1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FC12BA8B-80FD-4066-8586-3D3089AC4FFC}" type="datetime1">
              <a:rPr lang="de-DE" smtClean="0"/>
              <a:t>2022-01-1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F2F0E9D-60A9-4F53-BA09-C1D4CC7AA0F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AAA1933-32F6-413A-B222-EEFB93717F2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Untertitel 2">
            <a:extLst>
              <a:ext uri="{FF2B5EF4-FFF2-40B4-BE49-F238E27FC236}">
                <a16:creationId xmlns:a16="http://schemas.microsoft.com/office/drawing/2014/main" id="{C2F7910A-96CA-49EB-846D-FA2052474D4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552982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ext iPad Mock Up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reihandform: Form 23">
            <a:extLst>
              <a:ext uri="{FF2B5EF4-FFF2-40B4-BE49-F238E27FC236}">
                <a16:creationId xmlns:a16="http://schemas.microsoft.com/office/drawing/2014/main" id="{5BC63CF1-AB2D-493B-90A3-E2C49E60720A}"/>
              </a:ext>
            </a:extLst>
          </p:cNvPr>
          <p:cNvSpPr>
            <a:spLocks/>
          </p:cNvSpPr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3429000 h 6858000"/>
              <a:gd name="connsiteX3" fmla="*/ 5883844 w 12192000"/>
              <a:gd name="connsiteY3" fmla="*/ 3429000 h 6858000"/>
              <a:gd name="connsiteX4" fmla="*/ 4943475 w 12192000"/>
              <a:gd name="connsiteY4" fmla="*/ 4369369 h 6858000"/>
              <a:gd name="connsiteX5" fmla="*/ 4943475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5883844" y="3429000"/>
                </a:lnTo>
                <a:cubicBezTo>
                  <a:pt x="5364493" y="3429000"/>
                  <a:pt x="4943475" y="3850018"/>
                  <a:pt x="4943475" y="4369369"/>
                </a:cubicBezTo>
                <a:lnTo>
                  <a:pt x="494347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8" name="Freihandform: Form 27">
            <a:extLst>
              <a:ext uri="{FF2B5EF4-FFF2-40B4-BE49-F238E27FC236}">
                <a16:creationId xmlns:a16="http://schemas.microsoft.com/office/drawing/2014/main" id="{6C9BFDF4-9DAA-4839-BAFD-71747B65C9FB}"/>
              </a:ext>
            </a:extLst>
          </p:cNvPr>
          <p:cNvSpPr/>
          <p:nvPr userDrawn="1"/>
        </p:nvSpPr>
        <p:spPr>
          <a:xfrm flipH="1">
            <a:off x="5099343" y="3213933"/>
            <a:ext cx="7170708" cy="3748842"/>
          </a:xfrm>
          <a:custGeom>
            <a:avLst/>
            <a:gdLst>
              <a:gd name="connsiteX0" fmla="*/ 6132037 w 7170708"/>
              <a:gd name="connsiteY0" fmla="*/ 0 h 3748842"/>
              <a:gd name="connsiteX1" fmla="*/ 0 w 7170708"/>
              <a:gd name="connsiteY1" fmla="*/ 0 h 3748842"/>
              <a:gd name="connsiteX2" fmla="*/ 0 w 7170708"/>
              <a:gd name="connsiteY2" fmla="*/ 3748842 h 3748842"/>
              <a:gd name="connsiteX3" fmla="*/ 7170708 w 7170708"/>
              <a:gd name="connsiteY3" fmla="*/ 3748842 h 3748842"/>
              <a:gd name="connsiteX4" fmla="*/ 7170708 w 7170708"/>
              <a:gd name="connsiteY4" fmla="*/ 1038671 h 3748842"/>
              <a:gd name="connsiteX5" fmla="*/ 6132037 w 7170708"/>
              <a:gd name="connsiteY5" fmla="*/ 0 h 3748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170708" h="3748842">
                <a:moveTo>
                  <a:pt x="6132037" y="0"/>
                </a:moveTo>
                <a:lnTo>
                  <a:pt x="0" y="0"/>
                </a:lnTo>
                <a:lnTo>
                  <a:pt x="0" y="3748842"/>
                </a:lnTo>
                <a:lnTo>
                  <a:pt x="7170708" y="3748842"/>
                </a:lnTo>
                <a:lnTo>
                  <a:pt x="7170708" y="1038671"/>
                </a:lnTo>
                <a:cubicBezTo>
                  <a:pt x="7170708" y="465029"/>
                  <a:pt x="6705679" y="0"/>
                  <a:pt x="6132037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8138" y="1592263"/>
            <a:ext cx="4244975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7" name="Grafik 16" descr="Ein Bild, das Screenshot, Laptop, Monitor, Computer enthält.&#10;&#10;Automatisch generierte Beschreibung">
            <a:extLst>
              <a:ext uri="{FF2B5EF4-FFF2-40B4-BE49-F238E27FC236}">
                <a16:creationId xmlns:a16="http://schemas.microsoft.com/office/drawing/2014/main" id="{F975FC98-9C9A-4B54-BAA5-D026FFF13A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9256" t="1596" r="17397" b="11922"/>
          <a:stretch/>
        </p:blipFill>
        <p:spPr>
          <a:xfrm>
            <a:off x="4664075" y="927099"/>
            <a:ext cx="7248525" cy="5930901"/>
          </a:xfrm>
          <a:prstGeom prst="rect">
            <a:avLst/>
          </a:prstGeom>
        </p:spPr>
      </p:pic>
      <p:sp>
        <p:nvSpPr>
          <p:cNvPr id="18" name="Bildplatzhalter 15">
            <a:extLst>
              <a:ext uri="{FF2B5EF4-FFF2-40B4-BE49-F238E27FC236}">
                <a16:creationId xmlns:a16="http://schemas.microsoft.com/office/drawing/2014/main" id="{AFAC29CB-6258-49F1-AEFE-48C4C763D58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13450" y="2308224"/>
            <a:ext cx="4924425" cy="3073401"/>
          </a:xfr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7A6C8F5-0559-4B3D-A642-2C4638D4E8E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1A066E46-8EDC-4CA5-A38D-84430F873DD0}" type="datetime1">
              <a:rPr lang="de-DE" smtClean="0"/>
              <a:t>2022-01-1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9C13510-10A4-41C5-8ACF-EB970AA0B7A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A8607A9F-7336-4B10-9A47-B08A47C9013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9FED8C54-FAC3-4862-9B8D-DE240B68C898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5" cy="635012"/>
          </a:xfrm>
        </p:grpSpPr>
        <p:sp>
          <p:nvSpPr>
            <p:cNvPr id="12" name="Oval 5">
              <a:extLst>
                <a:ext uri="{FF2B5EF4-FFF2-40B4-BE49-F238E27FC236}">
                  <a16:creationId xmlns:a16="http://schemas.microsoft.com/office/drawing/2014/main" id="{618A242A-4252-4D1B-815B-B50970AB97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42F15D90-51AE-42BE-9523-CD3B8E3320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26A914C2-F17F-4D57-BA1C-16F80E685638}"/>
                </a:ext>
              </a:extLst>
            </p:cNvPr>
            <p:cNvGrpSpPr/>
            <p:nvPr/>
          </p:nvGrpSpPr>
          <p:grpSpPr>
            <a:xfrm>
              <a:off x="1311216" y="1530579"/>
              <a:ext cx="1533582" cy="307590"/>
              <a:chOff x="3987943" y="2307132"/>
              <a:chExt cx="2607166" cy="522910"/>
            </a:xfrm>
          </p:grpSpPr>
          <p:sp>
            <p:nvSpPr>
              <p:cNvPr id="15" name="Freeform 7">
                <a:extLst>
                  <a:ext uri="{FF2B5EF4-FFF2-40B4-BE49-F238E27FC236}">
                    <a16:creationId xmlns:a16="http://schemas.microsoft.com/office/drawing/2014/main" id="{4E7333A9-F536-43FC-ABA8-4A162CBED9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6" name="Freeform 8">
                <a:extLst>
                  <a:ext uri="{FF2B5EF4-FFF2-40B4-BE49-F238E27FC236}">
                    <a16:creationId xmlns:a16="http://schemas.microsoft.com/office/drawing/2014/main" id="{313E2420-E184-49F6-8BFA-375E9544E8C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9">
                <a:extLst>
                  <a:ext uri="{FF2B5EF4-FFF2-40B4-BE49-F238E27FC236}">
                    <a16:creationId xmlns:a16="http://schemas.microsoft.com/office/drawing/2014/main" id="{01C04114-EC10-47A0-81C9-9838F74193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0">
                <a:extLst>
                  <a:ext uri="{FF2B5EF4-FFF2-40B4-BE49-F238E27FC236}">
                    <a16:creationId xmlns:a16="http://schemas.microsoft.com/office/drawing/2014/main" id="{8643CAF3-5E79-4D28-B7EB-070C2194D4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1">
                <a:extLst>
                  <a:ext uri="{FF2B5EF4-FFF2-40B4-BE49-F238E27FC236}">
                    <a16:creationId xmlns:a16="http://schemas.microsoft.com/office/drawing/2014/main" id="{2295F6D0-883B-49BE-B001-CED3629ED5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2">
                <a:extLst>
                  <a:ext uri="{FF2B5EF4-FFF2-40B4-BE49-F238E27FC236}">
                    <a16:creationId xmlns:a16="http://schemas.microsoft.com/office/drawing/2014/main" id="{BC0F5639-ECB9-4517-8CDE-69479470C2E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3">
                <a:extLst>
                  <a:ext uri="{FF2B5EF4-FFF2-40B4-BE49-F238E27FC236}">
                    <a16:creationId xmlns:a16="http://schemas.microsoft.com/office/drawing/2014/main" id="{C159270D-DF8D-4AC3-8363-CCAC82EFE2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4">
                <a:extLst>
                  <a:ext uri="{FF2B5EF4-FFF2-40B4-BE49-F238E27FC236}">
                    <a16:creationId xmlns:a16="http://schemas.microsoft.com/office/drawing/2014/main" id="{38301C80-BCB6-4108-9076-400D64B6E53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5">
                <a:extLst>
                  <a:ext uri="{FF2B5EF4-FFF2-40B4-BE49-F238E27FC236}">
                    <a16:creationId xmlns:a16="http://schemas.microsoft.com/office/drawing/2014/main" id="{D0B10E0F-1854-4556-B36F-842D6CD836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6">
                <a:extLst>
                  <a:ext uri="{FF2B5EF4-FFF2-40B4-BE49-F238E27FC236}">
                    <a16:creationId xmlns:a16="http://schemas.microsoft.com/office/drawing/2014/main" id="{DB35A381-AE18-43BE-A680-D2E071507F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9" name="Untertitel 2">
            <a:extLst>
              <a:ext uri="{FF2B5EF4-FFF2-40B4-BE49-F238E27FC236}">
                <a16:creationId xmlns:a16="http://schemas.microsoft.com/office/drawing/2014/main" id="{665EE4D5-3BFA-4C08-8055-C04D2D810C9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664656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 Ups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>
            <a:extLst>
              <a:ext uri="{FF2B5EF4-FFF2-40B4-BE49-F238E27FC236}">
                <a16:creationId xmlns:a16="http://schemas.microsoft.com/office/drawing/2014/main" id="{876F057E-2AF1-414D-BDD2-290B0E24D7F1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70EB910-E9BB-4098-920D-18DAC1BCAF1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D117A269-4582-4907-AD5C-53442197C9A9}" type="datetime1">
              <a:rPr lang="de-DE" smtClean="0"/>
              <a:t>2022-01-1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F2F0E9D-60A9-4F53-BA09-C1D4CC7AA0F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AAA1933-32F6-413A-B222-EEFB93717F2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3" name="Grafik 12" descr="Ein Bild, das Screenshot, Laptop, Monitor, Computer enthält.&#10;&#10;Automatisch generierte Beschreibung">
            <a:extLst>
              <a:ext uri="{FF2B5EF4-FFF2-40B4-BE49-F238E27FC236}">
                <a16:creationId xmlns:a16="http://schemas.microsoft.com/office/drawing/2014/main" id="{274B7DAE-D42C-43A7-AB86-58AE8C71161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9256" t="17496" r="17397" b="11922"/>
          <a:stretch/>
        </p:blipFill>
        <p:spPr>
          <a:xfrm>
            <a:off x="603314" y="1544713"/>
            <a:ext cx="8079717" cy="5395499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4DE50EBE-0732-4A1B-8ED1-6A2DB92F9FD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2196" t="11127" r="28438"/>
          <a:stretch/>
        </p:blipFill>
        <p:spPr>
          <a:xfrm>
            <a:off x="5929809" y="2113191"/>
            <a:ext cx="5024002" cy="4827021"/>
          </a:xfrm>
          <a:prstGeom prst="rect">
            <a:avLst/>
          </a:prstGeom>
        </p:spPr>
      </p:pic>
      <p:sp>
        <p:nvSpPr>
          <p:cNvPr id="25" name="Bildplatzhalter 24">
            <a:extLst>
              <a:ext uri="{FF2B5EF4-FFF2-40B4-BE49-F238E27FC236}">
                <a16:creationId xmlns:a16="http://schemas.microsoft.com/office/drawing/2014/main" id="{BA7F5975-2F43-434A-A628-CA5A5F191F87}"/>
              </a:ext>
            </a:extLst>
          </p:cNvPr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107423" y="1868711"/>
            <a:ext cx="5489111" cy="3425829"/>
          </a:xfrm>
          <a:custGeom>
            <a:avLst/>
            <a:gdLst>
              <a:gd name="connsiteX0" fmla="*/ 0 w 5489111"/>
              <a:gd name="connsiteY0" fmla="*/ 0 h 3425829"/>
              <a:gd name="connsiteX1" fmla="*/ 5489111 w 5489111"/>
              <a:gd name="connsiteY1" fmla="*/ 0 h 3425829"/>
              <a:gd name="connsiteX2" fmla="*/ 5489111 w 5489111"/>
              <a:gd name="connsiteY2" fmla="*/ 2258813 h 3425829"/>
              <a:gd name="connsiteX3" fmla="*/ 4839123 w 5489111"/>
              <a:gd name="connsiteY3" fmla="*/ 2258788 h 3425829"/>
              <a:gd name="connsiteX4" fmla="*/ 4750322 w 5489111"/>
              <a:gd name="connsiteY4" fmla="*/ 2284867 h 3425829"/>
              <a:gd name="connsiteX5" fmla="*/ 4682035 w 5489111"/>
              <a:gd name="connsiteY5" fmla="*/ 2398573 h 3425829"/>
              <a:gd name="connsiteX6" fmla="*/ 4681617 w 5489111"/>
              <a:gd name="connsiteY6" fmla="*/ 2410092 h 3425829"/>
              <a:gd name="connsiteX7" fmla="*/ 4681599 w 5489111"/>
              <a:gd name="connsiteY7" fmla="*/ 2572763 h 3425829"/>
              <a:gd name="connsiteX8" fmla="*/ 4681599 w 5489111"/>
              <a:gd name="connsiteY8" fmla="*/ 2579897 h 3425829"/>
              <a:gd name="connsiteX9" fmla="*/ 4676100 w 5489111"/>
              <a:gd name="connsiteY9" fmla="*/ 2588768 h 3425829"/>
              <a:gd name="connsiteX10" fmla="*/ 4676142 w 5489111"/>
              <a:gd name="connsiteY10" fmla="*/ 2659787 h 3425829"/>
              <a:gd name="connsiteX11" fmla="*/ 4681095 w 5489111"/>
              <a:gd name="connsiteY11" fmla="*/ 2666770 h 3425829"/>
              <a:gd name="connsiteX12" fmla="*/ 4681095 w 5489111"/>
              <a:gd name="connsiteY12" fmla="*/ 2741680 h 3425829"/>
              <a:gd name="connsiteX13" fmla="*/ 4671996 w 5489111"/>
              <a:gd name="connsiteY13" fmla="*/ 2745494 h 3425829"/>
              <a:gd name="connsiteX14" fmla="*/ 4671996 w 5489111"/>
              <a:gd name="connsiteY14" fmla="*/ 2885114 h 3425829"/>
              <a:gd name="connsiteX15" fmla="*/ 4681174 w 5489111"/>
              <a:gd name="connsiteY15" fmla="*/ 2889262 h 3425829"/>
              <a:gd name="connsiteX16" fmla="*/ 4681174 w 5489111"/>
              <a:gd name="connsiteY16" fmla="*/ 2924571 h 3425829"/>
              <a:gd name="connsiteX17" fmla="*/ 4671996 w 5489111"/>
              <a:gd name="connsiteY17" fmla="*/ 2928815 h 3425829"/>
              <a:gd name="connsiteX18" fmla="*/ 4671996 w 5489111"/>
              <a:gd name="connsiteY18" fmla="*/ 3068437 h 3425829"/>
              <a:gd name="connsiteX19" fmla="*/ 4681599 w 5489111"/>
              <a:gd name="connsiteY19" fmla="*/ 3071891 h 3425829"/>
              <a:gd name="connsiteX20" fmla="*/ 4681599 w 5489111"/>
              <a:gd name="connsiteY20" fmla="*/ 3079742 h 3425829"/>
              <a:gd name="connsiteX21" fmla="*/ 4681532 w 5489111"/>
              <a:gd name="connsiteY21" fmla="*/ 3425829 h 3425829"/>
              <a:gd name="connsiteX22" fmla="*/ 0 w 5489111"/>
              <a:gd name="connsiteY22" fmla="*/ 3425829 h 3425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5489111" h="3425829">
                <a:moveTo>
                  <a:pt x="0" y="0"/>
                </a:moveTo>
                <a:lnTo>
                  <a:pt x="5489111" y="0"/>
                </a:lnTo>
                <a:lnTo>
                  <a:pt x="5489111" y="2258813"/>
                </a:lnTo>
                <a:lnTo>
                  <a:pt x="4839123" y="2258788"/>
                </a:lnTo>
                <a:cubicBezTo>
                  <a:pt x="4806911" y="2258782"/>
                  <a:pt x="4777017" y="2266657"/>
                  <a:pt x="4750322" y="2284867"/>
                </a:cubicBezTo>
                <a:cubicBezTo>
                  <a:pt x="4710224" y="2312222"/>
                  <a:pt x="4687553" y="2350312"/>
                  <a:pt x="4682035" y="2398573"/>
                </a:cubicBezTo>
                <a:cubicBezTo>
                  <a:pt x="4681605" y="2402380"/>
                  <a:pt x="4681617" y="2406254"/>
                  <a:pt x="4681617" y="2410092"/>
                </a:cubicBezTo>
                <a:cubicBezTo>
                  <a:pt x="4681592" y="2464315"/>
                  <a:pt x="4681599" y="2518539"/>
                  <a:pt x="4681599" y="2572763"/>
                </a:cubicBezTo>
                <a:cubicBezTo>
                  <a:pt x="4681599" y="2574979"/>
                  <a:pt x="4681599" y="2577201"/>
                  <a:pt x="4681599" y="2579897"/>
                </a:cubicBezTo>
                <a:cubicBezTo>
                  <a:pt x="4676639" y="2580856"/>
                  <a:pt x="4676063" y="2584293"/>
                  <a:pt x="4676100" y="2588768"/>
                </a:cubicBezTo>
                <a:cubicBezTo>
                  <a:pt x="4676299" y="2612437"/>
                  <a:pt x="4676245" y="2636112"/>
                  <a:pt x="4676142" y="2659787"/>
                </a:cubicBezTo>
                <a:cubicBezTo>
                  <a:pt x="4676123" y="2663448"/>
                  <a:pt x="4676767" y="2666223"/>
                  <a:pt x="4681095" y="2666770"/>
                </a:cubicBezTo>
                <a:cubicBezTo>
                  <a:pt x="4681095" y="2691993"/>
                  <a:pt x="4681095" y="2716992"/>
                  <a:pt x="4681095" y="2741680"/>
                </a:cubicBezTo>
                <a:cubicBezTo>
                  <a:pt x="4677805" y="2743059"/>
                  <a:pt x="4674904" y="2744274"/>
                  <a:pt x="4671996" y="2745494"/>
                </a:cubicBezTo>
                <a:cubicBezTo>
                  <a:pt x="4671996" y="2792037"/>
                  <a:pt x="4671996" y="2838573"/>
                  <a:pt x="4671996" y="2885114"/>
                </a:cubicBezTo>
                <a:cubicBezTo>
                  <a:pt x="4674843" y="2886402"/>
                  <a:pt x="4677690" y="2887696"/>
                  <a:pt x="4681174" y="2889262"/>
                </a:cubicBezTo>
                <a:cubicBezTo>
                  <a:pt x="4681174" y="2900684"/>
                  <a:pt x="4681174" y="2912821"/>
                  <a:pt x="4681174" y="2924571"/>
                </a:cubicBezTo>
                <a:cubicBezTo>
                  <a:pt x="4678000" y="2926041"/>
                  <a:pt x="4675000" y="2927425"/>
                  <a:pt x="4671996" y="2928815"/>
                </a:cubicBezTo>
                <a:cubicBezTo>
                  <a:pt x="4671996" y="2975358"/>
                  <a:pt x="4671996" y="3021894"/>
                  <a:pt x="4671996" y="3068437"/>
                </a:cubicBezTo>
                <a:cubicBezTo>
                  <a:pt x="4674946" y="3069499"/>
                  <a:pt x="4677902" y="3070562"/>
                  <a:pt x="4681599" y="3071891"/>
                </a:cubicBezTo>
                <a:cubicBezTo>
                  <a:pt x="4681599" y="3074150"/>
                  <a:pt x="4681599" y="3076950"/>
                  <a:pt x="4681599" y="3079742"/>
                </a:cubicBezTo>
                <a:lnTo>
                  <a:pt x="4681532" y="3425829"/>
                </a:lnTo>
                <a:lnTo>
                  <a:pt x="0" y="3425829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01B8DF7D-187D-4366-AAFF-1729A720A270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712602" y="2305552"/>
            <a:ext cx="2803684" cy="3736569"/>
          </a:xfrm>
          <a:custGeom>
            <a:avLst/>
            <a:gdLst>
              <a:gd name="connsiteX0" fmla="*/ 50578 w 2803684"/>
              <a:gd name="connsiteY0" fmla="*/ 0 h 3736569"/>
              <a:gd name="connsiteX1" fmla="*/ 2753106 w 2803684"/>
              <a:gd name="connsiteY1" fmla="*/ 0 h 3736569"/>
              <a:gd name="connsiteX2" fmla="*/ 2803684 w 2803684"/>
              <a:gd name="connsiteY2" fmla="*/ 50578 h 3736569"/>
              <a:gd name="connsiteX3" fmla="*/ 2803684 w 2803684"/>
              <a:gd name="connsiteY3" fmla="*/ 3685991 h 3736569"/>
              <a:gd name="connsiteX4" fmla="*/ 2753106 w 2803684"/>
              <a:gd name="connsiteY4" fmla="*/ 3736569 h 3736569"/>
              <a:gd name="connsiteX5" fmla="*/ 162509 w 2803684"/>
              <a:gd name="connsiteY5" fmla="*/ 3736569 h 3736569"/>
              <a:gd name="connsiteX6" fmla="*/ 162509 w 2803684"/>
              <a:gd name="connsiteY6" fmla="*/ 2607094 h 3736569"/>
              <a:gd name="connsiteX7" fmla="*/ 162509 w 2803684"/>
              <a:gd name="connsiteY7" fmla="*/ 2598290 h 3736569"/>
              <a:gd name="connsiteX8" fmla="*/ 163607 w 2803684"/>
              <a:gd name="connsiteY8" fmla="*/ 2597173 h 3736569"/>
              <a:gd name="connsiteX9" fmla="*/ 170921 w 2803684"/>
              <a:gd name="connsiteY9" fmla="*/ 2588040 h 3736569"/>
              <a:gd name="connsiteX10" fmla="*/ 170921 w 2803684"/>
              <a:gd name="connsiteY10" fmla="*/ 2317324 h 3736569"/>
              <a:gd name="connsiteX11" fmla="*/ 162502 w 2803684"/>
              <a:gd name="connsiteY11" fmla="*/ 2307008 h 3736569"/>
              <a:gd name="connsiteX12" fmla="*/ 162502 w 2803684"/>
              <a:gd name="connsiteY12" fmla="*/ 2299369 h 3736569"/>
              <a:gd name="connsiteX13" fmla="*/ 162435 w 2803684"/>
              <a:gd name="connsiteY13" fmla="*/ 1976451 h 3736569"/>
              <a:gd name="connsiteX14" fmla="*/ 116232 w 2803684"/>
              <a:gd name="connsiteY14" fmla="*/ 1866480 h 3736569"/>
              <a:gd name="connsiteX15" fmla="*/ 10999 w 2803684"/>
              <a:gd name="connsiteY15" fmla="*/ 1822020 h 3736569"/>
              <a:gd name="connsiteX16" fmla="*/ 4935 w 2803684"/>
              <a:gd name="connsiteY16" fmla="*/ 1821977 h 3736569"/>
              <a:gd name="connsiteX17" fmla="*/ 0 w 2803684"/>
              <a:gd name="connsiteY17" fmla="*/ 1821977 h 3736569"/>
              <a:gd name="connsiteX18" fmla="*/ 0 w 2803684"/>
              <a:gd name="connsiteY18" fmla="*/ 50578 h 3736569"/>
              <a:gd name="connsiteX19" fmla="*/ 50578 w 2803684"/>
              <a:gd name="connsiteY19" fmla="*/ 0 h 37365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2803684" h="3736569">
                <a:moveTo>
                  <a:pt x="50578" y="0"/>
                </a:moveTo>
                <a:lnTo>
                  <a:pt x="2753106" y="0"/>
                </a:lnTo>
                <a:cubicBezTo>
                  <a:pt x="2781039" y="0"/>
                  <a:pt x="2803684" y="22645"/>
                  <a:pt x="2803684" y="50578"/>
                </a:cubicBezTo>
                <a:lnTo>
                  <a:pt x="2803684" y="3685991"/>
                </a:lnTo>
                <a:cubicBezTo>
                  <a:pt x="2803684" y="3713924"/>
                  <a:pt x="2781039" y="3736569"/>
                  <a:pt x="2753106" y="3736569"/>
                </a:cubicBezTo>
                <a:lnTo>
                  <a:pt x="162509" y="3736569"/>
                </a:lnTo>
                <a:lnTo>
                  <a:pt x="162509" y="2607094"/>
                </a:lnTo>
                <a:cubicBezTo>
                  <a:pt x="162509" y="2604064"/>
                  <a:pt x="162509" y="2601040"/>
                  <a:pt x="162509" y="2598290"/>
                </a:cubicBezTo>
                <a:cubicBezTo>
                  <a:pt x="163048" y="2597719"/>
                  <a:pt x="163279" y="2597252"/>
                  <a:pt x="163607" y="2597173"/>
                </a:cubicBezTo>
                <a:cubicBezTo>
                  <a:pt x="170903" y="2595448"/>
                  <a:pt x="170921" y="2595460"/>
                  <a:pt x="170921" y="2588040"/>
                </a:cubicBezTo>
                <a:cubicBezTo>
                  <a:pt x="170927" y="2497804"/>
                  <a:pt x="170921" y="2407560"/>
                  <a:pt x="170921" y="2317324"/>
                </a:cubicBezTo>
                <a:cubicBezTo>
                  <a:pt x="170921" y="2309230"/>
                  <a:pt x="170909" y="2309230"/>
                  <a:pt x="162502" y="2307008"/>
                </a:cubicBezTo>
                <a:cubicBezTo>
                  <a:pt x="162502" y="2304560"/>
                  <a:pt x="162502" y="2301961"/>
                  <a:pt x="162502" y="2299369"/>
                </a:cubicBezTo>
                <a:cubicBezTo>
                  <a:pt x="162496" y="2191729"/>
                  <a:pt x="162624" y="2084090"/>
                  <a:pt x="162435" y="1976451"/>
                </a:cubicBezTo>
                <a:cubicBezTo>
                  <a:pt x="162363" y="1933485"/>
                  <a:pt x="146733" y="1896621"/>
                  <a:pt x="116232" y="1866480"/>
                </a:cubicBezTo>
                <a:cubicBezTo>
                  <a:pt x="87181" y="1837771"/>
                  <a:pt x="51752" y="1823380"/>
                  <a:pt x="10999" y="1822020"/>
                </a:cubicBezTo>
                <a:cubicBezTo>
                  <a:pt x="8978" y="1821953"/>
                  <a:pt x="6957" y="1821977"/>
                  <a:pt x="4935" y="1821977"/>
                </a:cubicBezTo>
                <a:lnTo>
                  <a:pt x="0" y="1821977"/>
                </a:lnTo>
                <a:lnTo>
                  <a:pt x="0" y="50578"/>
                </a:lnTo>
                <a:cubicBezTo>
                  <a:pt x="0" y="22645"/>
                  <a:pt x="22645" y="0"/>
                  <a:pt x="50578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pic>
        <p:nvPicPr>
          <p:cNvPr id="20" name="Grafik 19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7520ED33-6FFC-499F-AF20-DFC3D141147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21937" y="4121602"/>
            <a:ext cx="1750019" cy="2711314"/>
          </a:xfrm>
          <a:prstGeom prst="rect">
            <a:avLst/>
          </a:prstGeom>
        </p:spPr>
      </p:pic>
      <p:sp>
        <p:nvSpPr>
          <p:cNvPr id="26" name="Bildplatzhalter 47">
            <a:extLst>
              <a:ext uri="{FF2B5EF4-FFF2-40B4-BE49-F238E27FC236}">
                <a16:creationId xmlns:a16="http://schemas.microsoft.com/office/drawing/2014/main" id="{E0128E7F-A8D7-4916-93FD-7AB5101C9FD0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6849328" y="4185544"/>
            <a:ext cx="966123" cy="2086238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 sz="1000"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15" name="Untertitel 2">
            <a:extLst>
              <a:ext uri="{FF2B5EF4-FFF2-40B4-BE49-F238E27FC236}">
                <a16:creationId xmlns:a16="http://schemas.microsoft.com/office/drawing/2014/main" id="{5FBF59BD-5DD6-4DA1-900C-AEC3A989F32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444441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lde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496294BF-D3D0-4802-AC90-6B34E21A471A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2C40E76C-945F-4CFF-AF64-9F4AFBE031EE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DC92EF49-6770-4821-85BD-6B58BC2A37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F36EF048-6182-46E6-8FD1-9B53FFDF399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D131AAE3-7275-45DF-A769-EAF56E6801CA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5E1A07C7-D4A9-4D9C-BF1E-2F347913A4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8">
                <a:extLst>
                  <a:ext uri="{FF2B5EF4-FFF2-40B4-BE49-F238E27FC236}">
                    <a16:creationId xmlns:a16="http://schemas.microsoft.com/office/drawing/2014/main" id="{5FE140FB-ECB4-439D-BF7A-348D7592C41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9">
                <a:extLst>
                  <a:ext uri="{FF2B5EF4-FFF2-40B4-BE49-F238E27FC236}">
                    <a16:creationId xmlns:a16="http://schemas.microsoft.com/office/drawing/2014/main" id="{4AD64196-CF34-4AD0-A16E-5539B10016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0">
                <a:extLst>
                  <a:ext uri="{FF2B5EF4-FFF2-40B4-BE49-F238E27FC236}">
                    <a16:creationId xmlns:a16="http://schemas.microsoft.com/office/drawing/2014/main" id="{F414E838-E68E-4F8F-9508-065C7A4E81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1">
                <a:extLst>
                  <a:ext uri="{FF2B5EF4-FFF2-40B4-BE49-F238E27FC236}">
                    <a16:creationId xmlns:a16="http://schemas.microsoft.com/office/drawing/2014/main" id="{50B37B52-58A7-4290-B58A-6D0AD767A2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9" name="Freeform 12">
                <a:extLst>
                  <a:ext uri="{FF2B5EF4-FFF2-40B4-BE49-F238E27FC236}">
                    <a16:creationId xmlns:a16="http://schemas.microsoft.com/office/drawing/2014/main" id="{09B8253D-2FF1-4631-B01A-1BB370558AE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3">
                <a:extLst>
                  <a:ext uri="{FF2B5EF4-FFF2-40B4-BE49-F238E27FC236}">
                    <a16:creationId xmlns:a16="http://schemas.microsoft.com/office/drawing/2014/main" id="{A56A50CE-D116-4E3D-9F9C-6B4A7A9BD1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4">
                <a:extLst>
                  <a:ext uri="{FF2B5EF4-FFF2-40B4-BE49-F238E27FC236}">
                    <a16:creationId xmlns:a16="http://schemas.microsoft.com/office/drawing/2014/main" id="{1E1E3BA3-3D65-4AEE-89A2-7A24EE545D5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5">
                <a:extLst>
                  <a:ext uri="{FF2B5EF4-FFF2-40B4-BE49-F238E27FC236}">
                    <a16:creationId xmlns:a16="http://schemas.microsoft.com/office/drawing/2014/main" id="{CEBC7267-459F-46CB-9686-DC9EC33EA1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6">
                <a:extLst>
                  <a:ext uri="{FF2B5EF4-FFF2-40B4-BE49-F238E27FC236}">
                    <a16:creationId xmlns:a16="http://schemas.microsoft.com/office/drawing/2014/main" id="{FB993FA4-CFC5-4837-A96F-50FD90CAC3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487488" y="1592263"/>
            <a:ext cx="3821114" cy="2960687"/>
          </a:xfrm>
          <a:prstGeom prst="round2SameRect">
            <a:avLst>
              <a:gd name="adj1" fmla="val 10554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1" name="Bildplatzhalter 40">
            <a:extLst>
              <a:ext uri="{FF2B5EF4-FFF2-40B4-BE49-F238E27FC236}">
                <a16:creationId xmlns:a16="http://schemas.microsoft.com/office/drawing/2014/main" id="{1E250036-7D62-4114-A92A-3112FF8860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6883399" y="1592263"/>
            <a:ext cx="3821114" cy="2960687"/>
          </a:xfrm>
          <a:prstGeom prst="round2SameRect">
            <a:avLst>
              <a:gd name="adj1" fmla="val 10554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9AEC450-8DAE-4E70-AD4D-356D0443C963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 algn="r"/>
            <a:fld id="{C3E1294A-DAAC-4272-BBF4-E51DC056849C}" type="datetime1">
              <a:rPr lang="de-DE" smtClean="0"/>
              <a:t>2022-01-1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E236985-8E22-4FFB-AFEF-C6A5AC20472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72AF24B-2DDF-4827-A36F-31975804BAE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7" name="Textplatzhalter 5">
            <a:extLst>
              <a:ext uri="{FF2B5EF4-FFF2-40B4-BE49-F238E27FC236}">
                <a16:creationId xmlns:a16="http://schemas.microsoft.com/office/drawing/2014/main" id="{847B9E13-3744-40A3-A85C-84015DF9DFA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487488" y="4850492"/>
            <a:ext cx="3821114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1</a:t>
            </a:r>
          </a:p>
        </p:txBody>
      </p:sp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AE328B77-E9BB-42BD-AEA3-064C0C6E30D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883399" y="4850492"/>
            <a:ext cx="3821114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2</a:t>
            </a:r>
          </a:p>
        </p:txBody>
      </p:sp>
      <p:sp>
        <p:nvSpPr>
          <p:cNvPr id="14" name="Textplatzhalter 28">
            <a:extLst>
              <a:ext uri="{FF2B5EF4-FFF2-40B4-BE49-F238E27FC236}">
                <a16:creationId xmlns:a16="http://schemas.microsoft.com/office/drawing/2014/main" id="{6B8CED60-7D19-4349-BF76-DCB0CAE8F172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1487488" y="5263198"/>
            <a:ext cx="3821114" cy="101060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platzhalter 28">
            <a:extLst>
              <a:ext uri="{FF2B5EF4-FFF2-40B4-BE49-F238E27FC236}">
                <a16:creationId xmlns:a16="http://schemas.microsoft.com/office/drawing/2014/main" id="{B349CDDB-B0BE-4223-93D7-5E44317803C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883399" y="5263198"/>
            <a:ext cx="3821114" cy="101060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4" name="Untertitel 2">
            <a:extLst>
              <a:ext uri="{FF2B5EF4-FFF2-40B4-BE49-F238E27FC236}">
                <a16:creationId xmlns:a16="http://schemas.microsoft.com/office/drawing/2014/main" id="{89A331EA-7D73-4998-B51B-E0F5FC09B79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916251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lde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FD7AA177-9107-4D8D-9F97-1CDC2E86A4A7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2B4F717E-0C12-479E-8553-1DE225BA4CE3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7" name="Oval 5">
              <a:extLst>
                <a:ext uri="{FF2B5EF4-FFF2-40B4-BE49-F238E27FC236}">
                  <a16:creationId xmlns:a16="http://schemas.microsoft.com/office/drawing/2014/main" id="{F5645894-B5F9-45B1-A40B-B3AD39B1C7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8" name="Freeform 6">
              <a:extLst>
                <a:ext uri="{FF2B5EF4-FFF2-40B4-BE49-F238E27FC236}">
                  <a16:creationId xmlns:a16="http://schemas.microsoft.com/office/drawing/2014/main" id="{C8E2313B-3F49-4183-945F-97BA2EC06B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9" name="Gruppieren 28">
              <a:extLst>
                <a:ext uri="{FF2B5EF4-FFF2-40B4-BE49-F238E27FC236}">
                  <a16:creationId xmlns:a16="http://schemas.microsoft.com/office/drawing/2014/main" id="{3B6A391F-4FE1-47A0-B9BE-2920F1ED3D1C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30" name="Freeform 7">
                <a:extLst>
                  <a:ext uri="{FF2B5EF4-FFF2-40B4-BE49-F238E27FC236}">
                    <a16:creationId xmlns:a16="http://schemas.microsoft.com/office/drawing/2014/main" id="{26127AE2-ABCB-4715-985A-7CA177F904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8">
                <a:extLst>
                  <a:ext uri="{FF2B5EF4-FFF2-40B4-BE49-F238E27FC236}">
                    <a16:creationId xmlns:a16="http://schemas.microsoft.com/office/drawing/2014/main" id="{47B751FB-ED4E-40F8-B3E1-8245EB4CB92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9">
                <a:extLst>
                  <a:ext uri="{FF2B5EF4-FFF2-40B4-BE49-F238E27FC236}">
                    <a16:creationId xmlns:a16="http://schemas.microsoft.com/office/drawing/2014/main" id="{202E4F70-0E90-4670-9460-1C780E817E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0">
                <a:extLst>
                  <a:ext uri="{FF2B5EF4-FFF2-40B4-BE49-F238E27FC236}">
                    <a16:creationId xmlns:a16="http://schemas.microsoft.com/office/drawing/2014/main" id="{E5FDADB1-A503-4639-9E3B-1381DFE4D7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1">
                <a:extLst>
                  <a:ext uri="{FF2B5EF4-FFF2-40B4-BE49-F238E27FC236}">
                    <a16:creationId xmlns:a16="http://schemas.microsoft.com/office/drawing/2014/main" id="{33443494-539D-49EE-9E6B-5E23AD7F81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12">
                <a:extLst>
                  <a:ext uri="{FF2B5EF4-FFF2-40B4-BE49-F238E27FC236}">
                    <a16:creationId xmlns:a16="http://schemas.microsoft.com/office/drawing/2014/main" id="{30065938-87C5-41B9-BA6F-8CFD0951766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3">
                <a:extLst>
                  <a:ext uri="{FF2B5EF4-FFF2-40B4-BE49-F238E27FC236}">
                    <a16:creationId xmlns:a16="http://schemas.microsoft.com/office/drawing/2014/main" id="{FC291407-C501-454B-A8EE-7CAC0EBF29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4">
                <a:extLst>
                  <a:ext uri="{FF2B5EF4-FFF2-40B4-BE49-F238E27FC236}">
                    <a16:creationId xmlns:a16="http://schemas.microsoft.com/office/drawing/2014/main" id="{95E6D4F2-3255-40E5-A13F-91246F7BCE2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5">
                <a:extLst>
                  <a:ext uri="{FF2B5EF4-FFF2-40B4-BE49-F238E27FC236}">
                    <a16:creationId xmlns:a16="http://schemas.microsoft.com/office/drawing/2014/main" id="{444BCF27-B343-42A9-9DCA-E33BAC3C23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6">
                <a:extLst>
                  <a:ext uri="{FF2B5EF4-FFF2-40B4-BE49-F238E27FC236}">
                    <a16:creationId xmlns:a16="http://schemas.microsoft.com/office/drawing/2014/main" id="{3CC4F76B-36A1-4B25-9B0A-2D354D2305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762000" y="1592263"/>
            <a:ext cx="3025775" cy="2960687"/>
          </a:xfrm>
          <a:custGeom>
            <a:avLst/>
            <a:gdLst>
              <a:gd name="connsiteX0" fmla="*/ 309333 w 3025775"/>
              <a:gd name="connsiteY0" fmla="*/ 0 h 2960687"/>
              <a:gd name="connsiteX1" fmla="*/ 2716442 w 3025775"/>
              <a:gd name="connsiteY1" fmla="*/ 0 h 2960687"/>
              <a:gd name="connsiteX2" fmla="*/ 3025775 w 3025775"/>
              <a:gd name="connsiteY2" fmla="*/ 309333 h 2960687"/>
              <a:gd name="connsiteX3" fmla="*/ 3025775 w 3025775"/>
              <a:gd name="connsiteY3" fmla="*/ 2960687 h 2960687"/>
              <a:gd name="connsiteX4" fmla="*/ 0 w 3025775"/>
              <a:gd name="connsiteY4" fmla="*/ 2960687 h 2960687"/>
              <a:gd name="connsiteX5" fmla="*/ 0 w 3025775"/>
              <a:gd name="connsiteY5" fmla="*/ 309333 h 2960687"/>
              <a:gd name="connsiteX6" fmla="*/ 309333 w 3025775"/>
              <a:gd name="connsiteY6" fmla="*/ 0 h 2960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25775" h="2960687">
                <a:moveTo>
                  <a:pt x="309333" y="0"/>
                </a:moveTo>
                <a:lnTo>
                  <a:pt x="2716442" y="0"/>
                </a:lnTo>
                <a:cubicBezTo>
                  <a:pt x="2887282" y="0"/>
                  <a:pt x="3025775" y="138493"/>
                  <a:pt x="3025775" y="309333"/>
                </a:cubicBezTo>
                <a:lnTo>
                  <a:pt x="3025775" y="2960687"/>
                </a:lnTo>
                <a:lnTo>
                  <a:pt x="0" y="2960687"/>
                </a:lnTo>
                <a:lnTo>
                  <a:pt x="0" y="309333"/>
                </a:lnTo>
                <a:cubicBezTo>
                  <a:pt x="0" y="138493"/>
                  <a:pt x="138493" y="0"/>
                  <a:pt x="309333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F93A7B41-6D62-4864-8FFA-1765074A406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4583112" y="1592263"/>
            <a:ext cx="3025775" cy="2960687"/>
          </a:xfrm>
          <a:custGeom>
            <a:avLst/>
            <a:gdLst>
              <a:gd name="connsiteX0" fmla="*/ 309333 w 3025775"/>
              <a:gd name="connsiteY0" fmla="*/ 0 h 2960687"/>
              <a:gd name="connsiteX1" fmla="*/ 2716442 w 3025775"/>
              <a:gd name="connsiteY1" fmla="*/ 0 h 2960687"/>
              <a:gd name="connsiteX2" fmla="*/ 3025775 w 3025775"/>
              <a:gd name="connsiteY2" fmla="*/ 309333 h 2960687"/>
              <a:gd name="connsiteX3" fmla="*/ 3025775 w 3025775"/>
              <a:gd name="connsiteY3" fmla="*/ 2960687 h 2960687"/>
              <a:gd name="connsiteX4" fmla="*/ 0 w 3025775"/>
              <a:gd name="connsiteY4" fmla="*/ 2960687 h 2960687"/>
              <a:gd name="connsiteX5" fmla="*/ 0 w 3025775"/>
              <a:gd name="connsiteY5" fmla="*/ 309333 h 2960687"/>
              <a:gd name="connsiteX6" fmla="*/ 309333 w 3025775"/>
              <a:gd name="connsiteY6" fmla="*/ 0 h 2960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25775" h="2960687">
                <a:moveTo>
                  <a:pt x="309333" y="0"/>
                </a:moveTo>
                <a:lnTo>
                  <a:pt x="2716442" y="0"/>
                </a:lnTo>
                <a:cubicBezTo>
                  <a:pt x="2887282" y="0"/>
                  <a:pt x="3025775" y="138493"/>
                  <a:pt x="3025775" y="309333"/>
                </a:cubicBezTo>
                <a:lnTo>
                  <a:pt x="3025775" y="2960687"/>
                </a:lnTo>
                <a:lnTo>
                  <a:pt x="0" y="2960687"/>
                </a:lnTo>
                <a:lnTo>
                  <a:pt x="0" y="309333"/>
                </a:lnTo>
                <a:cubicBezTo>
                  <a:pt x="0" y="138493"/>
                  <a:pt x="138493" y="0"/>
                  <a:pt x="309333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2" name="Bildplatzhalter 21">
            <a:extLst>
              <a:ext uri="{FF2B5EF4-FFF2-40B4-BE49-F238E27FC236}">
                <a16:creationId xmlns:a16="http://schemas.microsoft.com/office/drawing/2014/main" id="{F8EA52FF-4D6F-4786-948F-F5BBA46C445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8401050" y="1592263"/>
            <a:ext cx="3025775" cy="2960687"/>
          </a:xfrm>
          <a:custGeom>
            <a:avLst/>
            <a:gdLst>
              <a:gd name="connsiteX0" fmla="*/ 309333 w 3025775"/>
              <a:gd name="connsiteY0" fmla="*/ 0 h 2960687"/>
              <a:gd name="connsiteX1" fmla="*/ 2716442 w 3025775"/>
              <a:gd name="connsiteY1" fmla="*/ 0 h 2960687"/>
              <a:gd name="connsiteX2" fmla="*/ 3025775 w 3025775"/>
              <a:gd name="connsiteY2" fmla="*/ 309333 h 2960687"/>
              <a:gd name="connsiteX3" fmla="*/ 3025775 w 3025775"/>
              <a:gd name="connsiteY3" fmla="*/ 2960687 h 2960687"/>
              <a:gd name="connsiteX4" fmla="*/ 0 w 3025775"/>
              <a:gd name="connsiteY4" fmla="*/ 2960687 h 2960687"/>
              <a:gd name="connsiteX5" fmla="*/ 0 w 3025775"/>
              <a:gd name="connsiteY5" fmla="*/ 309333 h 2960687"/>
              <a:gd name="connsiteX6" fmla="*/ 309333 w 3025775"/>
              <a:gd name="connsiteY6" fmla="*/ 0 h 2960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25775" h="2960687">
                <a:moveTo>
                  <a:pt x="309333" y="0"/>
                </a:moveTo>
                <a:lnTo>
                  <a:pt x="2716442" y="0"/>
                </a:lnTo>
                <a:cubicBezTo>
                  <a:pt x="2887282" y="0"/>
                  <a:pt x="3025775" y="138493"/>
                  <a:pt x="3025775" y="309333"/>
                </a:cubicBezTo>
                <a:lnTo>
                  <a:pt x="3025775" y="2960687"/>
                </a:lnTo>
                <a:lnTo>
                  <a:pt x="0" y="2960687"/>
                </a:lnTo>
                <a:lnTo>
                  <a:pt x="0" y="309333"/>
                </a:lnTo>
                <a:cubicBezTo>
                  <a:pt x="0" y="138493"/>
                  <a:pt x="138493" y="0"/>
                  <a:pt x="309333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25FF0B9-EDF2-4882-8704-4545C832A928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 algn="r"/>
            <a:fld id="{FF91B796-D878-4824-84F3-4DC422D4D2A8}" type="datetime1">
              <a:rPr lang="de-DE" smtClean="0"/>
              <a:t>2022-01-1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C8D8104-D8B2-4D95-A5F6-12F39DCDEF9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29D6E93-7F18-4FF1-9F28-312A4EDB5789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BFF5B44-121A-4367-B6E2-03918ADA9A5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62000" y="4853032"/>
            <a:ext cx="302577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16" name="Textplatzhalter 8">
            <a:extLst>
              <a:ext uri="{FF2B5EF4-FFF2-40B4-BE49-F238E27FC236}">
                <a16:creationId xmlns:a16="http://schemas.microsoft.com/office/drawing/2014/main" id="{00AAE0B7-896C-497B-B63C-A6AFD3696A2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583112" y="4853032"/>
            <a:ext cx="302577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17" name="Textplatzhalter 8">
            <a:extLst>
              <a:ext uri="{FF2B5EF4-FFF2-40B4-BE49-F238E27FC236}">
                <a16:creationId xmlns:a16="http://schemas.microsoft.com/office/drawing/2014/main" id="{FFA68F9C-9D74-44BD-A0C6-ABA5E620C98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01050" y="4853032"/>
            <a:ext cx="302577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18" name="Textplatzhalter 28">
            <a:extLst>
              <a:ext uri="{FF2B5EF4-FFF2-40B4-BE49-F238E27FC236}">
                <a16:creationId xmlns:a16="http://schemas.microsoft.com/office/drawing/2014/main" id="{3D06BD6F-9548-4E4A-9622-73B7940AF3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62000" y="5265738"/>
            <a:ext cx="302577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Textplatzhalter 28">
            <a:extLst>
              <a:ext uri="{FF2B5EF4-FFF2-40B4-BE49-F238E27FC236}">
                <a16:creationId xmlns:a16="http://schemas.microsoft.com/office/drawing/2014/main" id="{92F70558-BDEB-4EDA-96DC-F9F377A901CF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583112" y="5265738"/>
            <a:ext cx="302577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Textplatzhalter 28">
            <a:extLst>
              <a:ext uri="{FF2B5EF4-FFF2-40B4-BE49-F238E27FC236}">
                <a16:creationId xmlns:a16="http://schemas.microsoft.com/office/drawing/2014/main" id="{A4EEBFB5-31AF-44B0-B449-C6569322919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401050" y="5265738"/>
            <a:ext cx="302577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0" name="Untertitel 2">
            <a:extLst>
              <a:ext uri="{FF2B5EF4-FFF2-40B4-BE49-F238E27FC236}">
                <a16:creationId xmlns:a16="http://schemas.microsoft.com/office/drawing/2014/main" id="{6C40560B-4DF7-47DA-B46D-1B33BF4D836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711217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ilde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7E8CB8E4-FB84-4648-8735-CB7CC4E6C6DE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FABE9D84-609D-4A0B-9FE3-6E2E3C22590F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7" name="Oval 5">
              <a:extLst>
                <a:ext uri="{FF2B5EF4-FFF2-40B4-BE49-F238E27FC236}">
                  <a16:creationId xmlns:a16="http://schemas.microsoft.com/office/drawing/2014/main" id="{8AB12F9D-2FCF-463F-8048-C6B1518CAC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8" name="Freeform 6">
              <a:extLst>
                <a:ext uri="{FF2B5EF4-FFF2-40B4-BE49-F238E27FC236}">
                  <a16:creationId xmlns:a16="http://schemas.microsoft.com/office/drawing/2014/main" id="{FB2B76A1-114C-433B-8012-C92676EEF8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F0EA9399-9BE8-41AF-8045-D0420265E7A7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37" name="Freeform 7">
                <a:extLst>
                  <a:ext uri="{FF2B5EF4-FFF2-40B4-BE49-F238E27FC236}">
                    <a16:creationId xmlns:a16="http://schemas.microsoft.com/office/drawing/2014/main" id="{C0705B63-CDD9-4B98-BBB9-129890734C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8">
                <a:extLst>
                  <a:ext uri="{FF2B5EF4-FFF2-40B4-BE49-F238E27FC236}">
                    <a16:creationId xmlns:a16="http://schemas.microsoft.com/office/drawing/2014/main" id="{37873C95-B4B9-4D3F-8F2B-1F7E9CDD8D9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9">
                <a:extLst>
                  <a:ext uri="{FF2B5EF4-FFF2-40B4-BE49-F238E27FC236}">
                    <a16:creationId xmlns:a16="http://schemas.microsoft.com/office/drawing/2014/main" id="{DEDCFF11-F37C-4A97-9525-49EC385828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0">
                <a:extLst>
                  <a:ext uri="{FF2B5EF4-FFF2-40B4-BE49-F238E27FC236}">
                    <a16:creationId xmlns:a16="http://schemas.microsoft.com/office/drawing/2014/main" id="{FA6D5E4F-AB2E-44B6-B403-C2E671EBA2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1">
                <a:extLst>
                  <a:ext uri="{FF2B5EF4-FFF2-40B4-BE49-F238E27FC236}">
                    <a16:creationId xmlns:a16="http://schemas.microsoft.com/office/drawing/2014/main" id="{9A77CCC4-C472-4018-B101-78E437AADF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2">
                <a:extLst>
                  <a:ext uri="{FF2B5EF4-FFF2-40B4-BE49-F238E27FC236}">
                    <a16:creationId xmlns:a16="http://schemas.microsoft.com/office/drawing/2014/main" id="{101B07C3-A05E-4452-95C3-A224310903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3" name="Freeform 13">
                <a:extLst>
                  <a:ext uri="{FF2B5EF4-FFF2-40B4-BE49-F238E27FC236}">
                    <a16:creationId xmlns:a16="http://schemas.microsoft.com/office/drawing/2014/main" id="{BD34AE42-2F7D-497A-BC97-5CBC48123F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4" name="Freeform 14">
                <a:extLst>
                  <a:ext uri="{FF2B5EF4-FFF2-40B4-BE49-F238E27FC236}">
                    <a16:creationId xmlns:a16="http://schemas.microsoft.com/office/drawing/2014/main" id="{DAA2AC69-85F7-4098-89C0-B43D8A77CA7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5" name="Freeform 15">
                <a:extLst>
                  <a:ext uri="{FF2B5EF4-FFF2-40B4-BE49-F238E27FC236}">
                    <a16:creationId xmlns:a16="http://schemas.microsoft.com/office/drawing/2014/main" id="{F3A06AD5-31F8-4D18-8639-A476D2C033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6" name="Freeform 16">
                <a:extLst>
                  <a:ext uri="{FF2B5EF4-FFF2-40B4-BE49-F238E27FC236}">
                    <a16:creationId xmlns:a16="http://schemas.microsoft.com/office/drawing/2014/main" id="{6AF5945C-C038-4B9C-9AC1-783433F96C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0543800-777F-4A36-8003-A058D04E62D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 algn="r"/>
            <a:fld id="{1763C980-99EB-42E8-B4DA-EB959ED2CBD0}" type="datetime1">
              <a:rPr lang="de-DE" smtClean="0"/>
              <a:t>2022-01-1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170F859-33A7-427E-A5C9-27FEA21869B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59A9547-691C-4948-A8E5-C71CA5968B44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DC65F5F3-5F25-49DD-9082-C7A05680F31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62000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29" name="Textplatzhalter 8">
            <a:extLst>
              <a:ext uri="{FF2B5EF4-FFF2-40B4-BE49-F238E27FC236}">
                <a16:creationId xmlns:a16="http://schemas.microsoft.com/office/drawing/2014/main" id="{C7D15551-1290-405F-BD25-6ABF0894721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575682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30" name="Textplatzhalter 8">
            <a:extLst>
              <a:ext uri="{FF2B5EF4-FFF2-40B4-BE49-F238E27FC236}">
                <a16:creationId xmlns:a16="http://schemas.microsoft.com/office/drawing/2014/main" id="{22F89AD0-02C5-4175-B3F4-8788C3137D8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87027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31" name="Textplatzhalter 8">
            <a:extLst>
              <a:ext uri="{FF2B5EF4-FFF2-40B4-BE49-F238E27FC236}">
                <a16:creationId xmlns:a16="http://schemas.microsoft.com/office/drawing/2014/main" id="{FE572951-2F2B-4587-8B08-FA97A950415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197202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4</a:t>
            </a:r>
          </a:p>
        </p:txBody>
      </p:sp>
      <p:sp>
        <p:nvSpPr>
          <p:cNvPr id="33" name="Textplatzhalter 28">
            <a:extLst>
              <a:ext uri="{FF2B5EF4-FFF2-40B4-BE49-F238E27FC236}">
                <a16:creationId xmlns:a16="http://schemas.microsoft.com/office/drawing/2014/main" id="{4ED0B10A-D3D0-4421-86F8-F66783F8525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62000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4" name="Textplatzhalter 28">
            <a:extLst>
              <a:ext uri="{FF2B5EF4-FFF2-40B4-BE49-F238E27FC236}">
                <a16:creationId xmlns:a16="http://schemas.microsoft.com/office/drawing/2014/main" id="{6320E11F-E7F2-4E8F-9EDD-97A74F2BDB6E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575682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5" name="Textplatzhalter 28">
            <a:extLst>
              <a:ext uri="{FF2B5EF4-FFF2-40B4-BE49-F238E27FC236}">
                <a16:creationId xmlns:a16="http://schemas.microsoft.com/office/drawing/2014/main" id="{3DBEFF14-C172-4623-AD1D-F41CEF998726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87027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6" name="Textplatzhalter 28">
            <a:extLst>
              <a:ext uri="{FF2B5EF4-FFF2-40B4-BE49-F238E27FC236}">
                <a16:creationId xmlns:a16="http://schemas.microsoft.com/office/drawing/2014/main" id="{6FA93FC9-E925-4BFF-A3E4-F222D9C8A983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197202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7" name="Untertitel 2">
            <a:extLst>
              <a:ext uri="{FF2B5EF4-FFF2-40B4-BE49-F238E27FC236}">
                <a16:creationId xmlns:a16="http://schemas.microsoft.com/office/drawing/2014/main" id="{BF72182D-61F9-4E9C-A5AA-70D1FD53578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48" name="Bildplatzhalter 47">
            <a:extLst>
              <a:ext uri="{FF2B5EF4-FFF2-40B4-BE49-F238E27FC236}">
                <a16:creationId xmlns:a16="http://schemas.microsoft.com/office/drawing/2014/main" id="{6F7E146A-7186-40F8-90F9-B27910E6DCD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762001" y="1592264"/>
            <a:ext cx="2228034" cy="2960686"/>
          </a:xfrm>
          <a:custGeom>
            <a:avLst/>
            <a:gdLst>
              <a:gd name="connsiteX0" fmla="*/ 316581 w 2228034"/>
              <a:gd name="connsiteY0" fmla="*/ 0 h 2960686"/>
              <a:gd name="connsiteX1" fmla="*/ 1911454 w 2228034"/>
              <a:gd name="connsiteY1" fmla="*/ 0 h 2960686"/>
              <a:gd name="connsiteX2" fmla="*/ 2221603 w 2228034"/>
              <a:gd name="connsiteY2" fmla="*/ 252779 h 2960686"/>
              <a:gd name="connsiteX3" fmla="*/ 2228034 w 2228034"/>
              <a:gd name="connsiteY3" fmla="*/ 316571 h 2960686"/>
              <a:gd name="connsiteX4" fmla="*/ 2228034 w 2228034"/>
              <a:gd name="connsiteY4" fmla="*/ 2960686 h 2960686"/>
              <a:gd name="connsiteX5" fmla="*/ 0 w 2228034"/>
              <a:gd name="connsiteY5" fmla="*/ 2960686 h 2960686"/>
              <a:gd name="connsiteX6" fmla="*/ 0 w 2228034"/>
              <a:gd name="connsiteY6" fmla="*/ 2644106 h 2960686"/>
              <a:gd name="connsiteX7" fmla="*/ 0 w 2228034"/>
              <a:gd name="connsiteY7" fmla="*/ 1760537 h 2960686"/>
              <a:gd name="connsiteX8" fmla="*/ 0 w 2228034"/>
              <a:gd name="connsiteY8" fmla="*/ 316581 h 2960686"/>
              <a:gd name="connsiteX9" fmla="*/ 316581 w 2228034"/>
              <a:gd name="connsiteY9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28034" h="2960686">
                <a:moveTo>
                  <a:pt x="316581" y="0"/>
                </a:moveTo>
                <a:lnTo>
                  <a:pt x="1911454" y="0"/>
                </a:lnTo>
                <a:cubicBezTo>
                  <a:pt x="2064442" y="0"/>
                  <a:pt x="2192083" y="108518"/>
                  <a:pt x="2221603" y="252779"/>
                </a:cubicBezTo>
                <a:lnTo>
                  <a:pt x="2228034" y="316571"/>
                </a:lnTo>
                <a:lnTo>
                  <a:pt x="2228034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9" name="Bildplatzhalter 48">
            <a:extLst>
              <a:ext uri="{FF2B5EF4-FFF2-40B4-BE49-F238E27FC236}">
                <a16:creationId xmlns:a16="http://schemas.microsoft.com/office/drawing/2014/main" id="{6DDD03A3-F076-4625-90D6-85CA7A684D4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9197202" y="1592264"/>
            <a:ext cx="2228035" cy="2960686"/>
          </a:xfrm>
          <a:custGeom>
            <a:avLst/>
            <a:gdLst>
              <a:gd name="connsiteX0" fmla="*/ 316581 w 2228035"/>
              <a:gd name="connsiteY0" fmla="*/ 0 h 2960686"/>
              <a:gd name="connsiteX1" fmla="*/ 1911454 w 2228035"/>
              <a:gd name="connsiteY1" fmla="*/ 0 h 2960686"/>
              <a:gd name="connsiteX2" fmla="*/ 2228035 w 2228035"/>
              <a:gd name="connsiteY2" fmla="*/ 316581 h 2960686"/>
              <a:gd name="connsiteX3" fmla="*/ 2228035 w 2228035"/>
              <a:gd name="connsiteY3" fmla="*/ 1760537 h 2960686"/>
              <a:gd name="connsiteX4" fmla="*/ 2228035 w 2228035"/>
              <a:gd name="connsiteY4" fmla="*/ 2644106 h 2960686"/>
              <a:gd name="connsiteX5" fmla="*/ 2228035 w 2228035"/>
              <a:gd name="connsiteY5" fmla="*/ 2960686 h 2960686"/>
              <a:gd name="connsiteX6" fmla="*/ 0 w 2228035"/>
              <a:gd name="connsiteY6" fmla="*/ 2960686 h 2960686"/>
              <a:gd name="connsiteX7" fmla="*/ 0 w 2228035"/>
              <a:gd name="connsiteY7" fmla="*/ 2644106 h 2960686"/>
              <a:gd name="connsiteX8" fmla="*/ 0 w 2228035"/>
              <a:gd name="connsiteY8" fmla="*/ 1760537 h 2960686"/>
              <a:gd name="connsiteX9" fmla="*/ 0 w 2228035"/>
              <a:gd name="connsiteY9" fmla="*/ 316581 h 2960686"/>
              <a:gd name="connsiteX10" fmla="*/ 316581 w 2228035"/>
              <a:gd name="connsiteY10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28035" h="2960686">
                <a:moveTo>
                  <a:pt x="316581" y="0"/>
                </a:moveTo>
                <a:lnTo>
                  <a:pt x="1911454" y="0"/>
                </a:lnTo>
                <a:cubicBezTo>
                  <a:pt x="2086297" y="0"/>
                  <a:pt x="2228035" y="141738"/>
                  <a:pt x="2228035" y="316581"/>
                </a:cubicBezTo>
                <a:lnTo>
                  <a:pt x="2228035" y="1760537"/>
                </a:lnTo>
                <a:lnTo>
                  <a:pt x="2228035" y="2644106"/>
                </a:lnTo>
                <a:lnTo>
                  <a:pt x="2228035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50" name="Bildplatzhalter 49">
            <a:extLst>
              <a:ext uri="{FF2B5EF4-FFF2-40B4-BE49-F238E27FC236}">
                <a16:creationId xmlns:a16="http://schemas.microsoft.com/office/drawing/2014/main" id="{487AB407-DDAC-4C1D-94AA-1B9B6313DA7E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3575682" y="1592264"/>
            <a:ext cx="2228035" cy="2960686"/>
          </a:xfrm>
          <a:custGeom>
            <a:avLst/>
            <a:gdLst>
              <a:gd name="connsiteX0" fmla="*/ 316581 w 2228035"/>
              <a:gd name="connsiteY0" fmla="*/ 0 h 2960686"/>
              <a:gd name="connsiteX1" fmla="*/ 1911454 w 2228035"/>
              <a:gd name="connsiteY1" fmla="*/ 0 h 2960686"/>
              <a:gd name="connsiteX2" fmla="*/ 2228035 w 2228035"/>
              <a:gd name="connsiteY2" fmla="*/ 316581 h 2960686"/>
              <a:gd name="connsiteX3" fmla="*/ 2228035 w 2228035"/>
              <a:gd name="connsiteY3" fmla="*/ 1760537 h 2960686"/>
              <a:gd name="connsiteX4" fmla="*/ 2228035 w 2228035"/>
              <a:gd name="connsiteY4" fmla="*/ 2644106 h 2960686"/>
              <a:gd name="connsiteX5" fmla="*/ 2228035 w 2228035"/>
              <a:gd name="connsiteY5" fmla="*/ 2960686 h 2960686"/>
              <a:gd name="connsiteX6" fmla="*/ 0 w 2228035"/>
              <a:gd name="connsiteY6" fmla="*/ 2960686 h 2960686"/>
              <a:gd name="connsiteX7" fmla="*/ 0 w 2228035"/>
              <a:gd name="connsiteY7" fmla="*/ 2644106 h 2960686"/>
              <a:gd name="connsiteX8" fmla="*/ 0 w 2228035"/>
              <a:gd name="connsiteY8" fmla="*/ 1760537 h 2960686"/>
              <a:gd name="connsiteX9" fmla="*/ 0 w 2228035"/>
              <a:gd name="connsiteY9" fmla="*/ 316581 h 2960686"/>
              <a:gd name="connsiteX10" fmla="*/ 316581 w 2228035"/>
              <a:gd name="connsiteY10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28035" h="2960686">
                <a:moveTo>
                  <a:pt x="316581" y="0"/>
                </a:moveTo>
                <a:lnTo>
                  <a:pt x="1911454" y="0"/>
                </a:lnTo>
                <a:cubicBezTo>
                  <a:pt x="2086297" y="0"/>
                  <a:pt x="2228035" y="141738"/>
                  <a:pt x="2228035" y="316581"/>
                </a:cubicBezTo>
                <a:lnTo>
                  <a:pt x="2228035" y="1760537"/>
                </a:lnTo>
                <a:lnTo>
                  <a:pt x="2228035" y="2644106"/>
                </a:lnTo>
                <a:lnTo>
                  <a:pt x="2228035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51" name="Bildplatzhalter 50">
            <a:extLst>
              <a:ext uri="{FF2B5EF4-FFF2-40B4-BE49-F238E27FC236}">
                <a16:creationId xmlns:a16="http://schemas.microsoft.com/office/drawing/2014/main" id="{0B847C45-9A30-4FA9-9AB8-F02BECA3C9E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6387027" y="1592264"/>
            <a:ext cx="2228035" cy="2960686"/>
          </a:xfrm>
          <a:custGeom>
            <a:avLst/>
            <a:gdLst>
              <a:gd name="connsiteX0" fmla="*/ 316581 w 2228035"/>
              <a:gd name="connsiteY0" fmla="*/ 0 h 2960686"/>
              <a:gd name="connsiteX1" fmla="*/ 1911454 w 2228035"/>
              <a:gd name="connsiteY1" fmla="*/ 0 h 2960686"/>
              <a:gd name="connsiteX2" fmla="*/ 2228035 w 2228035"/>
              <a:gd name="connsiteY2" fmla="*/ 316581 h 2960686"/>
              <a:gd name="connsiteX3" fmla="*/ 2228035 w 2228035"/>
              <a:gd name="connsiteY3" fmla="*/ 1760537 h 2960686"/>
              <a:gd name="connsiteX4" fmla="*/ 2228035 w 2228035"/>
              <a:gd name="connsiteY4" fmla="*/ 2644106 h 2960686"/>
              <a:gd name="connsiteX5" fmla="*/ 2228035 w 2228035"/>
              <a:gd name="connsiteY5" fmla="*/ 2960686 h 2960686"/>
              <a:gd name="connsiteX6" fmla="*/ 0 w 2228035"/>
              <a:gd name="connsiteY6" fmla="*/ 2960686 h 2960686"/>
              <a:gd name="connsiteX7" fmla="*/ 0 w 2228035"/>
              <a:gd name="connsiteY7" fmla="*/ 2644106 h 2960686"/>
              <a:gd name="connsiteX8" fmla="*/ 0 w 2228035"/>
              <a:gd name="connsiteY8" fmla="*/ 1760537 h 2960686"/>
              <a:gd name="connsiteX9" fmla="*/ 0 w 2228035"/>
              <a:gd name="connsiteY9" fmla="*/ 316581 h 2960686"/>
              <a:gd name="connsiteX10" fmla="*/ 316581 w 2228035"/>
              <a:gd name="connsiteY10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28035" h="2960686">
                <a:moveTo>
                  <a:pt x="316581" y="0"/>
                </a:moveTo>
                <a:lnTo>
                  <a:pt x="1911454" y="0"/>
                </a:lnTo>
                <a:cubicBezTo>
                  <a:pt x="2086297" y="0"/>
                  <a:pt x="2228035" y="141738"/>
                  <a:pt x="2228035" y="316581"/>
                </a:cubicBezTo>
                <a:lnTo>
                  <a:pt x="2228035" y="1760537"/>
                </a:lnTo>
                <a:lnTo>
                  <a:pt x="2228035" y="2644106"/>
                </a:lnTo>
                <a:lnTo>
                  <a:pt x="2228035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</p:spTree>
    <p:extLst>
      <p:ext uri="{BB962C8B-B14F-4D97-AF65-F5344CB8AC3E}">
        <p14:creationId xmlns:p14="http://schemas.microsoft.com/office/powerpoint/2010/main" val="3423674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Handy Mock Up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FEB09ED1-D2C0-4AA9-B708-2A32DD37818B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3429000 h 6858000"/>
              <a:gd name="connsiteX3" fmla="*/ 7023099 w 12192000"/>
              <a:gd name="connsiteY3" fmla="*/ 3429000 h 6858000"/>
              <a:gd name="connsiteX4" fmla="*/ 6096000 w 12192000"/>
              <a:gd name="connsiteY4" fmla="*/ 4356099 h 6858000"/>
              <a:gd name="connsiteX5" fmla="*/ 6096000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7023099" y="3429000"/>
                </a:lnTo>
                <a:cubicBezTo>
                  <a:pt x="6511076" y="3429000"/>
                  <a:pt x="6096000" y="3844076"/>
                  <a:pt x="6096000" y="4356099"/>
                </a:cubicBez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/>
        </p:nvSpPr>
        <p:spPr>
          <a:xfrm>
            <a:off x="7812776" y="1130300"/>
            <a:ext cx="2293249" cy="4800600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8138" y="1592263"/>
            <a:ext cx="4605338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9" name="Grafik 1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04A93760-5CB7-4A71-88CE-5A17695854F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36702" y="686312"/>
            <a:ext cx="4049097" cy="6273288"/>
          </a:xfrm>
          <a:prstGeom prst="rect">
            <a:avLst/>
          </a:prstGeom>
        </p:spPr>
      </p:pic>
      <p:sp>
        <p:nvSpPr>
          <p:cNvPr id="12" name="Bildplatzhalter 47">
            <a:extLst>
              <a:ext uri="{FF2B5EF4-FFF2-40B4-BE49-F238E27FC236}">
                <a16:creationId xmlns:a16="http://schemas.microsoft.com/office/drawing/2014/main" id="{9FFF591E-DE1B-4866-BA8A-50846A0938A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188325" y="834258"/>
            <a:ext cx="2235362" cy="4833117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9FAA5AB-AF5D-45FC-9331-37CB30DA67F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2B2A5354-4A0A-4010-84BE-BCD5D3CF3C13}" type="datetime1">
              <a:rPr lang="de-DE" smtClean="0"/>
              <a:t>2022-01-13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586052F2-2BEC-49E6-B1FD-629E3243462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CC481FCD-D56C-4922-BAFD-224BE4BC24F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01E1623E-C7C8-456D-B712-2ACDFE584EBB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5" cy="635012"/>
          </a:xfrm>
        </p:grpSpPr>
        <p:sp>
          <p:nvSpPr>
            <p:cNvPr id="14" name="Oval 5">
              <a:extLst>
                <a:ext uri="{FF2B5EF4-FFF2-40B4-BE49-F238E27FC236}">
                  <a16:creationId xmlns:a16="http://schemas.microsoft.com/office/drawing/2014/main" id="{358E2997-F269-4B55-819A-BD949E9783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576BB871-46F7-4C87-A566-E27C94415E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1553D4F3-B8D5-4E12-8C8B-CA8D8E2770C0}"/>
                </a:ext>
              </a:extLst>
            </p:cNvPr>
            <p:cNvGrpSpPr/>
            <p:nvPr/>
          </p:nvGrpSpPr>
          <p:grpSpPr>
            <a:xfrm>
              <a:off x="1311216" y="1530579"/>
              <a:ext cx="1533582" cy="307590"/>
              <a:chOff x="3987943" y="2307132"/>
              <a:chExt cx="2607166" cy="522910"/>
            </a:xfrm>
          </p:grpSpPr>
          <p:sp>
            <p:nvSpPr>
              <p:cNvPr id="18" name="Freeform 7">
                <a:extLst>
                  <a:ext uri="{FF2B5EF4-FFF2-40B4-BE49-F238E27FC236}">
                    <a16:creationId xmlns:a16="http://schemas.microsoft.com/office/drawing/2014/main" id="{27F14C16-9401-415C-8BD8-DEE7D893D8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0D470AC2-F14B-419D-9CAB-34FCD7601E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D544B772-451B-4E62-A44C-36EEB45F0E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F3045032-1089-4088-B9C1-C273C1BDBB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F21C82FE-8694-4686-BBB5-827622BDA3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44A7E0A4-CDDC-416C-AC69-00FF083A8DC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9DB17AFF-3E32-4842-B851-1F44A3300B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7A4A52D1-E196-43E8-A898-BE5460788F3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05E985F5-C685-49A8-AA2F-949F5BFF5A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DFBA3D12-4595-491A-9605-D4FFC67076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Untertitel 2">
            <a:extLst>
              <a:ext uri="{FF2B5EF4-FFF2-40B4-BE49-F238E27FC236}">
                <a16:creationId xmlns:a16="http://schemas.microsoft.com/office/drawing/2014/main" id="{B8434D50-54AF-4F54-BAC8-BDA813C7A83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65931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Bilder Inhalt Farbfläch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ihandform: Form 22">
            <a:extLst>
              <a:ext uri="{FF2B5EF4-FFF2-40B4-BE49-F238E27FC236}">
                <a16:creationId xmlns:a16="http://schemas.microsoft.com/office/drawing/2014/main" id="{42C1C417-C6A8-42BE-9910-2D37DC5D2A6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262360 w 12192000"/>
              <a:gd name="connsiteY3" fmla="*/ 6858000 h 6858000"/>
              <a:gd name="connsiteX4" fmla="*/ 11262360 w 12192000"/>
              <a:gd name="connsiteY4" fmla="*/ 3802297 h 6858000"/>
              <a:gd name="connsiteX5" fmla="*/ 10276288 w 12192000"/>
              <a:gd name="connsiteY5" fmla="*/ 2816225 h 6858000"/>
              <a:gd name="connsiteX6" fmla="*/ 0 w 12192000"/>
              <a:gd name="connsiteY6" fmla="*/ 281622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262360" y="6858000"/>
                </a:lnTo>
                <a:lnTo>
                  <a:pt x="11262360" y="3802297"/>
                </a:lnTo>
                <a:cubicBezTo>
                  <a:pt x="11262360" y="3257704"/>
                  <a:pt x="10820881" y="2816225"/>
                  <a:pt x="10276288" y="2816225"/>
                </a:cubicBezTo>
                <a:lnTo>
                  <a:pt x="0" y="2816225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78833B7C-624A-4366-B73C-BA06FB92685A}"/>
              </a:ext>
            </a:extLst>
          </p:cNvPr>
          <p:cNvSpPr/>
          <p:nvPr userDrawn="1"/>
        </p:nvSpPr>
        <p:spPr>
          <a:xfrm>
            <a:off x="-10930" y="2601380"/>
            <a:ext cx="11503732" cy="4267200"/>
          </a:xfrm>
          <a:custGeom>
            <a:avLst/>
            <a:gdLst>
              <a:gd name="connsiteX0" fmla="*/ 0 w 11503732"/>
              <a:gd name="connsiteY0" fmla="*/ 0 h 4267200"/>
              <a:gd name="connsiteX1" fmla="*/ 10297224 w 11503732"/>
              <a:gd name="connsiteY1" fmla="*/ 0 h 4267200"/>
              <a:gd name="connsiteX2" fmla="*/ 11503732 w 11503732"/>
              <a:gd name="connsiteY2" fmla="*/ 1206508 h 4267200"/>
              <a:gd name="connsiteX3" fmla="*/ 11503732 w 11503732"/>
              <a:gd name="connsiteY3" fmla="*/ 4267200 h 4267200"/>
              <a:gd name="connsiteX4" fmla="*/ 0 w 11503732"/>
              <a:gd name="connsiteY4" fmla="*/ 426720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03732" h="4267200">
                <a:moveTo>
                  <a:pt x="0" y="0"/>
                </a:moveTo>
                <a:lnTo>
                  <a:pt x="10297224" y="0"/>
                </a:lnTo>
                <a:cubicBezTo>
                  <a:pt x="10963560" y="0"/>
                  <a:pt x="11503732" y="540172"/>
                  <a:pt x="11503732" y="1206508"/>
                </a:cubicBezTo>
                <a:lnTo>
                  <a:pt x="11503732" y="4267200"/>
                </a:lnTo>
                <a:lnTo>
                  <a:pt x="0" y="4267200"/>
                </a:ln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487488" y="1915370"/>
            <a:ext cx="2300287" cy="2126405"/>
          </a:xfrm>
          <a:prstGeom prst="round2SameRect">
            <a:avLst>
              <a:gd name="adj1" fmla="val 14427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4E6E7D95-E752-4938-A697-BF0079FA9A28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6" cy="635012"/>
          </a:xfrm>
        </p:grpSpPr>
        <p:sp>
          <p:nvSpPr>
            <p:cNvPr id="30" name="Oval 5">
              <a:extLst>
                <a:ext uri="{FF2B5EF4-FFF2-40B4-BE49-F238E27FC236}">
                  <a16:creationId xmlns:a16="http://schemas.microsoft.com/office/drawing/2014/main" id="{1D77E2A1-AC77-44E7-839B-CADFB8AA1A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607E5BD9-B18D-42DC-A03B-FFC59313D6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79A6C844-5DD2-409E-98B9-E19508E5FA87}"/>
                </a:ext>
              </a:extLst>
            </p:cNvPr>
            <p:cNvGrpSpPr/>
            <p:nvPr/>
          </p:nvGrpSpPr>
          <p:grpSpPr>
            <a:xfrm>
              <a:off x="1311217" y="1530579"/>
              <a:ext cx="1533582" cy="307590"/>
              <a:chOff x="3987943" y="2307132"/>
              <a:chExt cx="2607166" cy="522910"/>
            </a:xfrm>
          </p:grpSpPr>
          <p:sp>
            <p:nvSpPr>
              <p:cNvPr id="33" name="Freeform 7">
                <a:extLst>
                  <a:ext uri="{FF2B5EF4-FFF2-40B4-BE49-F238E27FC236}">
                    <a16:creationId xmlns:a16="http://schemas.microsoft.com/office/drawing/2014/main" id="{643D1AFD-B7D6-4A09-BFEB-A6E265C0EA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8">
                <a:extLst>
                  <a:ext uri="{FF2B5EF4-FFF2-40B4-BE49-F238E27FC236}">
                    <a16:creationId xmlns:a16="http://schemas.microsoft.com/office/drawing/2014/main" id="{40E33BC4-1E2D-4478-BF91-015ADA50B16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9">
                <a:extLst>
                  <a:ext uri="{FF2B5EF4-FFF2-40B4-BE49-F238E27FC236}">
                    <a16:creationId xmlns:a16="http://schemas.microsoft.com/office/drawing/2014/main" id="{B1369C83-92F5-4D60-B81D-1BA647CC02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0">
                <a:extLst>
                  <a:ext uri="{FF2B5EF4-FFF2-40B4-BE49-F238E27FC236}">
                    <a16:creationId xmlns:a16="http://schemas.microsoft.com/office/drawing/2014/main" id="{26C5AFE6-9457-47F3-A719-0D2F180FCD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1">
                <a:extLst>
                  <a:ext uri="{FF2B5EF4-FFF2-40B4-BE49-F238E27FC236}">
                    <a16:creationId xmlns:a16="http://schemas.microsoft.com/office/drawing/2014/main" id="{6EE3B5FE-7E51-4F77-8F4D-99C718E2FA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2">
                <a:extLst>
                  <a:ext uri="{FF2B5EF4-FFF2-40B4-BE49-F238E27FC236}">
                    <a16:creationId xmlns:a16="http://schemas.microsoft.com/office/drawing/2014/main" id="{4C62839E-3074-4973-814C-1B5157D823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3">
                <a:extLst>
                  <a:ext uri="{FF2B5EF4-FFF2-40B4-BE49-F238E27FC236}">
                    <a16:creationId xmlns:a16="http://schemas.microsoft.com/office/drawing/2014/main" id="{CBC551B8-B813-4181-B5A2-4FCDD7F799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4">
                <a:extLst>
                  <a:ext uri="{FF2B5EF4-FFF2-40B4-BE49-F238E27FC236}">
                    <a16:creationId xmlns:a16="http://schemas.microsoft.com/office/drawing/2014/main" id="{B4BC6E0C-B64B-45FC-BE32-87D981D4A3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5">
                <a:extLst>
                  <a:ext uri="{FF2B5EF4-FFF2-40B4-BE49-F238E27FC236}">
                    <a16:creationId xmlns:a16="http://schemas.microsoft.com/office/drawing/2014/main" id="{A8A873D6-99AD-4B9F-925C-0040680E39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6">
                <a:extLst>
                  <a:ext uri="{FF2B5EF4-FFF2-40B4-BE49-F238E27FC236}">
                    <a16:creationId xmlns:a16="http://schemas.microsoft.com/office/drawing/2014/main" id="{E6FE9E62-9925-40BD-83DB-748F8A9258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44" name="Bildplatzhalter 43">
            <a:extLst>
              <a:ext uri="{FF2B5EF4-FFF2-40B4-BE49-F238E27FC236}">
                <a16:creationId xmlns:a16="http://schemas.microsoft.com/office/drawing/2014/main" id="{2CF2BA29-B1F5-4E1C-915D-7F4FC6184988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4943475" y="1915370"/>
            <a:ext cx="2300287" cy="2126405"/>
          </a:xfrm>
          <a:prstGeom prst="round2SameRect">
            <a:avLst>
              <a:gd name="adj1" fmla="val 14427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5" name="Bildplatzhalter 44">
            <a:extLst>
              <a:ext uri="{FF2B5EF4-FFF2-40B4-BE49-F238E27FC236}">
                <a16:creationId xmlns:a16="http://schemas.microsoft.com/office/drawing/2014/main" id="{B7C45DC4-51D5-44A9-817E-78B83E5B082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8399462" y="1915370"/>
            <a:ext cx="2300287" cy="2126405"/>
          </a:xfrm>
          <a:prstGeom prst="round2SameRect">
            <a:avLst>
              <a:gd name="adj1" fmla="val 14427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95AA77A-1C06-4D07-8794-FCA3B043B958}"/>
              </a:ext>
            </a:extLst>
          </p:cNvPr>
          <p:cNvSpPr>
            <a:spLocks noGrp="1"/>
          </p:cNvSpPr>
          <p:nvPr>
            <p:ph type="dt" sz="half" idx="22"/>
          </p:nvPr>
        </p:nvSpPr>
        <p:spPr>
          <a:xfrm>
            <a:off x="11160919" y="6991314"/>
            <a:ext cx="457993" cy="101671"/>
          </a:xfrm>
        </p:spPr>
        <p:txBody>
          <a:bodyPr/>
          <a:lstStyle/>
          <a:p>
            <a:pPr algn="r"/>
            <a:fld id="{11560FD6-ED8F-43E1-AA44-DD8B0C75FA2A}" type="datetime1">
              <a:rPr lang="de-DE" smtClean="0"/>
              <a:t>2022-01-1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DD25278-5920-4203-8EF2-E38D0AAB249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8401051" y="6991314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92D9BE3-5B6C-4092-94F4-64CE9C9872B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11725538" y="6991314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6" name="Untertitel 2">
            <a:extLst>
              <a:ext uri="{FF2B5EF4-FFF2-40B4-BE49-F238E27FC236}">
                <a16:creationId xmlns:a16="http://schemas.microsoft.com/office/drawing/2014/main" id="{C9F0ACC9-CEAA-4EA6-A118-DD136891EB6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47" name="Textplatzhalter 8">
            <a:extLst>
              <a:ext uri="{FF2B5EF4-FFF2-40B4-BE49-F238E27FC236}">
                <a16:creationId xmlns:a16="http://schemas.microsoft.com/office/drawing/2014/main" id="{01CA58C5-73BF-4F50-8E4E-C62D87E4887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487488" y="4300582"/>
            <a:ext cx="2300287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48" name="Textplatzhalter 16">
            <a:extLst>
              <a:ext uri="{FF2B5EF4-FFF2-40B4-BE49-F238E27FC236}">
                <a16:creationId xmlns:a16="http://schemas.microsoft.com/office/drawing/2014/main" id="{A266F4AF-8576-4B5E-90FF-3B35B39E278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487488" y="4713288"/>
            <a:ext cx="2300287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4" name="Textplatzhalter 16">
            <a:extLst>
              <a:ext uri="{FF2B5EF4-FFF2-40B4-BE49-F238E27FC236}">
                <a16:creationId xmlns:a16="http://schemas.microsoft.com/office/drawing/2014/main" id="{7DD15A8F-8B27-4F47-8BEB-85B05075D10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943475" y="4713288"/>
            <a:ext cx="2300287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5" name="Textplatzhalter 8">
            <a:extLst>
              <a:ext uri="{FF2B5EF4-FFF2-40B4-BE49-F238E27FC236}">
                <a16:creationId xmlns:a16="http://schemas.microsoft.com/office/drawing/2014/main" id="{BF96D391-12B8-4DC2-8BA7-EE3B41ABA82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943475" y="4300582"/>
            <a:ext cx="2300287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56" name="Textplatzhalter 8">
            <a:extLst>
              <a:ext uri="{FF2B5EF4-FFF2-40B4-BE49-F238E27FC236}">
                <a16:creationId xmlns:a16="http://schemas.microsoft.com/office/drawing/2014/main" id="{D4C580B9-825B-4196-9F6C-FFF6081A79D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399462" y="4300582"/>
            <a:ext cx="2300287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57" name="Textplatzhalter 16">
            <a:extLst>
              <a:ext uri="{FF2B5EF4-FFF2-40B4-BE49-F238E27FC236}">
                <a16:creationId xmlns:a16="http://schemas.microsoft.com/office/drawing/2014/main" id="{2C922E9A-0902-45D7-BBA0-8857792BAE21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399462" y="4713288"/>
            <a:ext cx="2300287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00582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Bilder Inhalt Farbfläch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ihandform: Form 22">
            <a:extLst>
              <a:ext uri="{FF2B5EF4-FFF2-40B4-BE49-F238E27FC236}">
                <a16:creationId xmlns:a16="http://schemas.microsoft.com/office/drawing/2014/main" id="{42C1C417-C6A8-42BE-9910-2D37DC5D2A6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262360 w 12192000"/>
              <a:gd name="connsiteY3" fmla="*/ 6858000 h 6858000"/>
              <a:gd name="connsiteX4" fmla="*/ 11262360 w 12192000"/>
              <a:gd name="connsiteY4" fmla="*/ 3802297 h 6858000"/>
              <a:gd name="connsiteX5" fmla="*/ 10276288 w 12192000"/>
              <a:gd name="connsiteY5" fmla="*/ 2816225 h 6858000"/>
              <a:gd name="connsiteX6" fmla="*/ 0 w 12192000"/>
              <a:gd name="connsiteY6" fmla="*/ 281622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262360" y="6858000"/>
                </a:lnTo>
                <a:lnTo>
                  <a:pt x="11262360" y="3802297"/>
                </a:lnTo>
                <a:cubicBezTo>
                  <a:pt x="11262360" y="3257704"/>
                  <a:pt x="10820881" y="2816225"/>
                  <a:pt x="10276288" y="2816225"/>
                </a:cubicBezTo>
                <a:lnTo>
                  <a:pt x="0" y="2816225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78833B7C-624A-4366-B73C-BA06FB92685A}"/>
              </a:ext>
            </a:extLst>
          </p:cNvPr>
          <p:cNvSpPr/>
          <p:nvPr userDrawn="1"/>
        </p:nvSpPr>
        <p:spPr>
          <a:xfrm>
            <a:off x="-10930" y="2601380"/>
            <a:ext cx="11503732" cy="4267200"/>
          </a:xfrm>
          <a:custGeom>
            <a:avLst/>
            <a:gdLst>
              <a:gd name="connsiteX0" fmla="*/ 0 w 11503732"/>
              <a:gd name="connsiteY0" fmla="*/ 0 h 4267200"/>
              <a:gd name="connsiteX1" fmla="*/ 10297224 w 11503732"/>
              <a:gd name="connsiteY1" fmla="*/ 0 h 4267200"/>
              <a:gd name="connsiteX2" fmla="*/ 11503732 w 11503732"/>
              <a:gd name="connsiteY2" fmla="*/ 1206508 h 4267200"/>
              <a:gd name="connsiteX3" fmla="*/ 11503732 w 11503732"/>
              <a:gd name="connsiteY3" fmla="*/ 4267200 h 4267200"/>
              <a:gd name="connsiteX4" fmla="*/ 0 w 11503732"/>
              <a:gd name="connsiteY4" fmla="*/ 426720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03732" h="4267200">
                <a:moveTo>
                  <a:pt x="0" y="0"/>
                </a:moveTo>
                <a:lnTo>
                  <a:pt x="10297224" y="0"/>
                </a:lnTo>
                <a:cubicBezTo>
                  <a:pt x="10963560" y="0"/>
                  <a:pt x="11503732" y="540172"/>
                  <a:pt x="11503732" y="1206508"/>
                </a:cubicBezTo>
                <a:lnTo>
                  <a:pt x="11503732" y="4267200"/>
                </a:lnTo>
                <a:lnTo>
                  <a:pt x="0" y="4267200"/>
                </a:ln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487488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4E6E7D95-E752-4938-A697-BF0079FA9A28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6" cy="635012"/>
          </a:xfrm>
        </p:grpSpPr>
        <p:sp>
          <p:nvSpPr>
            <p:cNvPr id="30" name="Oval 5">
              <a:extLst>
                <a:ext uri="{FF2B5EF4-FFF2-40B4-BE49-F238E27FC236}">
                  <a16:creationId xmlns:a16="http://schemas.microsoft.com/office/drawing/2014/main" id="{1D77E2A1-AC77-44E7-839B-CADFB8AA1A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607E5BD9-B18D-42DC-A03B-FFC59313D6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79A6C844-5DD2-409E-98B9-E19508E5FA87}"/>
                </a:ext>
              </a:extLst>
            </p:cNvPr>
            <p:cNvGrpSpPr/>
            <p:nvPr/>
          </p:nvGrpSpPr>
          <p:grpSpPr>
            <a:xfrm>
              <a:off x="1311217" y="1530579"/>
              <a:ext cx="1533582" cy="307590"/>
              <a:chOff x="3987943" y="2307132"/>
              <a:chExt cx="2607166" cy="522910"/>
            </a:xfrm>
          </p:grpSpPr>
          <p:sp>
            <p:nvSpPr>
              <p:cNvPr id="33" name="Freeform 7">
                <a:extLst>
                  <a:ext uri="{FF2B5EF4-FFF2-40B4-BE49-F238E27FC236}">
                    <a16:creationId xmlns:a16="http://schemas.microsoft.com/office/drawing/2014/main" id="{643D1AFD-B7D6-4A09-BFEB-A6E265C0EA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8">
                <a:extLst>
                  <a:ext uri="{FF2B5EF4-FFF2-40B4-BE49-F238E27FC236}">
                    <a16:creationId xmlns:a16="http://schemas.microsoft.com/office/drawing/2014/main" id="{40E33BC4-1E2D-4478-BF91-015ADA50B16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9">
                <a:extLst>
                  <a:ext uri="{FF2B5EF4-FFF2-40B4-BE49-F238E27FC236}">
                    <a16:creationId xmlns:a16="http://schemas.microsoft.com/office/drawing/2014/main" id="{B1369C83-92F5-4D60-B81D-1BA647CC02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0">
                <a:extLst>
                  <a:ext uri="{FF2B5EF4-FFF2-40B4-BE49-F238E27FC236}">
                    <a16:creationId xmlns:a16="http://schemas.microsoft.com/office/drawing/2014/main" id="{26C5AFE6-9457-47F3-A719-0D2F180FCD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1">
                <a:extLst>
                  <a:ext uri="{FF2B5EF4-FFF2-40B4-BE49-F238E27FC236}">
                    <a16:creationId xmlns:a16="http://schemas.microsoft.com/office/drawing/2014/main" id="{6EE3B5FE-7E51-4F77-8F4D-99C718E2FA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2">
                <a:extLst>
                  <a:ext uri="{FF2B5EF4-FFF2-40B4-BE49-F238E27FC236}">
                    <a16:creationId xmlns:a16="http://schemas.microsoft.com/office/drawing/2014/main" id="{4C62839E-3074-4973-814C-1B5157D823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3">
                <a:extLst>
                  <a:ext uri="{FF2B5EF4-FFF2-40B4-BE49-F238E27FC236}">
                    <a16:creationId xmlns:a16="http://schemas.microsoft.com/office/drawing/2014/main" id="{CBC551B8-B813-4181-B5A2-4FCDD7F799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4">
                <a:extLst>
                  <a:ext uri="{FF2B5EF4-FFF2-40B4-BE49-F238E27FC236}">
                    <a16:creationId xmlns:a16="http://schemas.microsoft.com/office/drawing/2014/main" id="{B4BC6E0C-B64B-45FC-BE32-87D981D4A3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5">
                <a:extLst>
                  <a:ext uri="{FF2B5EF4-FFF2-40B4-BE49-F238E27FC236}">
                    <a16:creationId xmlns:a16="http://schemas.microsoft.com/office/drawing/2014/main" id="{A8A873D6-99AD-4B9F-925C-0040680E39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6">
                <a:extLst>
                  <a:ext uri="{FF2B5EF4-FFF2-40B4-BE49-F238E27FC236}">
                    <a16:creationId xmlns:a16="http://schemas.microsoft.com/office/drawing/2014/main" id="{E6FE9E62-9925-40BD-83DB-748F8A9258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50" name="Bildplatzhalter 49">
            <a:extLst>
              <a:ext uri="{FF2B5EF4-FFF2-40B4-BE49-F238E27FC236}">
                <a16:creationId xmlns:a16="http://schemas.microsoft.com/office/drawing/2014/main" id="{3EE30A50-6C25-44D7-942F-A1D692F5DDE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4001642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51" name="Bildplatzhalter 50">
            <a:extLst>
              <a:ext uri="{FF2B5EF4-FFF2-40B4-BE49-F238E27FC236}">
                <a16:creationId xmlns:a16="http://schemas.microsoft.com/office/drawing/2014/main" id="{4C754E0D-D00D-406A-ABB1-2BC23994F8BF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515796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52" name="Bildplatzhalter 51">
            <a:extLst>
              <a:ext uri="{FF2B5EF4-FFF2-40B4-BE49-F238E27FC236}">
                <a16:creationId xmlns:a16="http://schemas.microsoft.com/office/drawing/2014/main" id="{E86ED2C5-07F4-4D71-ABCD-26E63A679F6E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9031105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51A2BA7-048B-4652-9F13-266927BA0590}"/>
              </a:ext>
            </a:extLst>
          </p:cNvPr>
          <p:cNvSpPr>
            <a:spLocks noGrp="1"/>
          </p:cNvSpPr>
          <p:nvPr>
            <p:ph type="dt" sz="half" idx="27"/>
          </p:nvPr>
        </p:nvSpPr>
        <p:spPr>
          <a:xfrm>
            <a:off x="11160919" y="7065971"/>
            <a:ext cx="457993" cy="101671"/>
          </a:xfrm>
        </p:spPr>
        <p:txBody>
          <a:bodyPr/>
          <a:lstStyle/>
          <a:p>
            <a:pPr algn="r"/>
            <a:fld id="{03767410-1463-483B-8CD2-5A585155EB38}" type="datetime1">
              <a:rPr lang="de-DE" smtClean="0"/>
              <a:t>2022-01-1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8EE3B0B-3CCF-427F-AEAB-8D00A76E7729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>
          <a:xfrm>
            <a:off x="8401051" y="7065971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BFF838C-BDC9-42AC-8249-5DDDCE8081A2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>
          <a:xfrm>
            <a:off x="11725538" y="7065971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6" name="Untertitel 2">
            <a:extLst>
              <a:ext uri="{FF2B5EF4-FFF2-40B4-BE49-F238E27FC236}">
                <a16:creationId xmlns:a16="http://schemas.microsoft.com/office/drawing/2014/main" id="{A4705E78-26BC-4F2A-A827-B7E21E2BA2B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48" name="Textplatzhalter 8">
            <a:extLst>
              <a:ext uri="{FF2B5EF4-FFF2-40B4-BE49-F238E27FC236}">
                <a16:creationId xmlns:a16="http://schemas.microsoft.com/office/drawing/2014/main" id="{369B5A36-CCDA-4E7B-BB17-5917AFA842B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487489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53" name="Textplatzhalter 16">
            <a:extLst>
              <a:ext uri="{FF2B5EF4-FFF2-40B4-BE49-F238E27FC236}">
                <a16:creationId xmlns:a16="http://schemas.microsoft.com/office/drawing/2014/main" id="{19357C29-2039-4728-BA3D-A07C2E0A6D9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1487489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4" name="Textplatzhalter 8">
            <a:extLst>
              <a:ext uri="{FF2B5EF4-FFF2-40B4-BE49-F238E27FC236}">
                <a16:creationId xmlns:a16="http://schemas.microsoft.com/office/drawing/2014/main" id="{A6FAC1FA-9F5A-4BE9-B968-50004B1C239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001642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55" name="Textplatzhalter 16">
            <a:extLst>
              <a:ext uri="{FF2B5EF4-FFF2-40B4-BE49-F238E27FC236}">
                <a16:creationId xmlns:a16="http://schemas.microsoft.com/office/drawing/2014/main" id="{B98E5858-6EB0-4A6D-8F0B-9DC62A66829E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001642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9" name="Textplatzhalter 8">
            <a:extLst>
              <a:ext uri="{FF2B5EF4-FFF2-40B4-BE49-F238E27FC236}">
                <a16:creationId xmlns:a16="http://schemas.microsoft.com/office/drawing/2014/main" id="{F2C74E83-AABB-47C0-A384-793156F2C91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515796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60" name="Textplatzhalter 16">
            <a:extLst>
              <a:ext uri="{FF2B5EF4-FFF2-40B4-BE49-F238E27FC236}">
                <a16:creationId xmlns:a16="http://schemas.microsoft.com/office/drawing/2014/main" id="{45549B26-C19C-4F93-9FAD-0B0F85A013AA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515796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1" name="Textplatzhalter 8">
            <a:extLst>
              <a:ext uri="{FF2B5EF4-FFF2-40B4-BE49-F238E27FC236}">
                <a16:creationId xmlns:a16="http://schemas.microsoft.com/office/drawing/2014/main" id="{49F3113B-5396-4A86-B434-189BEF0BBFE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031105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4</a:t>
            </a:r>
          </a:p>
        </p:txBody>
      </p:sp>
      <p:sp>
        <p:nvSpPr>
          <p:cNvPr id="62" name="Textplatzhalter 16">
            <a:extLst>
              <a:ext uri="{FF2B5EF4-FFF2-40B4-BE49-F238E27FC236}">
                <a16:creationId xmlns:a16="http://schemas.microsoft.com/office/drawing/2014/main" id="{7F5B0F8E-080F-4B1F-95A4-234F68E550C4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9031105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282307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Freihandform: Form 26">
            <a:extLst>
              <a:ext uri="{FF2B5EF4-FFF2-40B4-BE49-F238E27FC236}">
                <a16:creationId xmlns:a16="http://schemas.microsoft.com/office/drawing/2014/main" id="{40601C92-0FB4-4F18-B951-EB6F4654574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191998 w 12192000"/>
              <a:gd name="connsiteY3" fmla="*/ 6858000 h 6858000"/>
              <a:gd name="connsiteX4" fmla="*/ 12191998 w 12192000"/>
              <a:gd name="connsiteY4" fmla="*/ 3429000 h 6858000"/>
              <a:gd name="connsiteX5" fmla="*/ 8518560 w 12192000"/>
              <a:gd name="connsiteY5" fmla="*/ 3429000 h 6858000"/>
              <a:gd name="connsiteX6" fmla="*/ 7608881 w 12192000"/>
              <a:gd name="connsiteY6" fmla="*/ 4338679 h 6858000"/>
              <a:gd name="connsiteX7" fmla="*/ 7608881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91998" y="6858000"/>
                </a:lnTo>
                <a:lnTo>
                  <a:pt x="12191998" y="3429000"/>
                </a:lnTo>
                <a:lnTo>
                  <a:pt x="8518560" y="3429000"/>
                </a:lnTo>
                <a:cubicBezTo>
                  <a:pt x="8016158" y="3429000"/>
                  <a:pt x="7608881" y="3836277"/>
                  <a:pt x="7608881" y="4338679"/>
                </a:cubicBezTo>
                <a:lnTo>
                  <a:pt x="760888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8" name="Rechteck: eine Ecke abgerundet 27">
            <a:extLst>
              <a:ext uri="{FF2B5EF4-FFF2-40B4-BE49-F238E27FC236}">
                <a16:creationId xmlns:a16="http://schemas.microsoft.com/office/drawing/2014/main" id="{A8394AE5-C4D7-4BA4-B77C-17EBB5CFDBA9}"/>
              </a:ext>
            </a:extLst>
          </p:cNvPr>
          <p:cNvSpPr/>
          <p:nvPr userDrawn="1"/>
        </p:nvSpPr>
        <p:spPr>
          <a:xfrm flipH="1">
            <a:off x="7859179" y="3253843"/>
            <a:ext cx="4343397" cy="3614737"/>
          </a:xfrm>
          <a:prstGeom prst="round1Rect">
            <a:avLst>
              <a:gd name="adj" fmla="val 2652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CC30C46E-93BB-456B-A582-0CC839E3DEC6}"/>
              </a:ext>
            </a:extLst>
          </p:cNvPr>
          <p:cNvGrpSpPr/>
          <p:nvPr userDrawn="1"/>
        </p:nvGrpSpPr>
        <p:grpSpPr>
          <a:xfrm>
            <a:off x="1487489" y="1592263"/>
            <a:ext cx="2961647" cy="790184"/>
            <a:chOff x="464743" y="1368699"/>
            <a:chExt cx="2380058" cy="635012"/>
          </a:xfrm>
        </p:grpSpPr>
        <p:sp>
          <p:nvSpPr>
            <p:cNvPr id="30" name="Oval 5">
              <a:extLst>
                <a:ext uri="{FF2B5EF4-FFF2-40B4-BE49-F238E27FC236}">
                  <a16:creationId xmlns:a16="http://schemas.microsoft.com/office/drawing/2014/main" id="{26390C3B-B0B4-4EFE-9B46-FE8B885C49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50845654-756B-49A0-9B7E-490F7D9AD2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C5DDB20E-D4CF-45EC-8615-7530003E79BB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33" name="Freeform 7">
                <a:extLst>
                  <a:ext uri="{FF2B5EF4-FFF2-40B4-BE49-F238E27FC236}">
                    <a16:creationId xmlns:a16="http://schemas.microsoft.com/office/drawing/2014/main" id="{42679654-DC6C-46EC-93D8-41C51D8101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8">
                <a:extLst>
                  <a:ext uri="{FF2B5EF4-FFF2-40B4-BE49-F238E27FC236}">
                    <a16:creationId xmlns:a16="http://schemas.microsoft.com/office/drawing/2014/main" id="{4F94D85A-AADF-4641-8240-09D8F219B1B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9">
                <a:extLst>
                  <a:ext uri="{FF2B5EF4-FFF2-40B4-BE49-F238E27FC236}">
                    <a16:creationId xmlns:a16="http://schemas.microsoft.com/office/drawing/2014/main" id="{3D20015B-C361-4C48-9B4D-E22C8B4269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0">
                <a:extLst>
                  <a:ext uri="{FF2B5EF4-FFF2-40B4-BE49-F238E27FC236}">
                    <a16:creationId xmlns:a16="http://schemas.microsoft.com/office/drawing/2014/main" id="{5402477D-7C04-48FC-BB94-6B02286C73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1">
                <a:extLst>
                  <a:ext uri="{FF2B5EF4-FFF2-40B4-BE49-F238E27FC236}">
                    <a16:creationId xmlns:a16="http://schemas.microsoft.com/office/drawing/2014/main" id="{AE5C8FA0-2B86-45D3-AB7C-5FF5872085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2">
                <a:extLst>
                  <a:ext uri="{FF2B5EF4-FFF2-40B4-BE49-F238E27FC236}">
                    <a16:creationId xmlns:a16="http://schemas.microsoft.com/office/drawing/2014/main" id="{E0F3A930-2827-4306-A510-A90ED15C4AB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3">
                <a:extLst>
                  <a:ext uri="{FF2B5EF4-FFF2-40B4-BE49-F238E27FC236}">
                    <a16:creationId xmlns:a16="http://schemas.microsoft.com/office/drawing/2014/main" id="{95C94C5C-79C5-4030-B294-B47BF68610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4">
                <a:extLst>
                  <a:ext uri="{FF2B5EF4-FFF2-40B4-BE49-F238E27FC236}">
                    <a16:creationId xmlns:a16="http://schemas.microsoft.com/office/drawing/2014/main" id="{10522F29-A710-4E4B-A86E-73768F11BD8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5">
                <a:extLst>
                  <a:ext uri="{FF2B5EF4-FFF2-40B4-BE49-F238E27FC236}">
                    <a16:creationId xmlns:a16="http://schemas.microsoft.com/office/drawing/2014/main" id="{11732295-C403-40B4-A6AA-AE2AC35557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3" name="Freeform 16">
                <a:extLst>
                  <a:ext uri="{FF2B5EF4-FFF2-40B4-BE49-F238E27FC236}">
                    <a16:creationId xmlns:a16="http://schemas.microsoft.com/office/drawing/2014/main" id="{199BAE08-20AA-458D-BD80-6223055889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44" name="Untertitel 2">
            <a:extLst>
              <a:ext uri="{FF2B5EF4-FFF2-40B4-BE49-F238E27FC236}">
                <a16:creationId xmlns:a16="http://schemas.microsoft.com/office/drawing/2014/main" id="{EF789A5E-C5ED-4B00-91BD-5B486EFCF56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1487488" y="3731319"/>
            <a:ext cx="4608513" cy="555166"/>
          </a:xfrm>
        </p:spPr>
        <p:txBody>
          <a:bodyPr anchor="t"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latin typeface="+mj-lt"/>
              </a:defRPr>
            </a:lvl5pPr>
            <a:lvl6pPr marL="0" indent="0" algn="l">
              <a:buNone/>
              <a:defRPr sz="1600">
                <a:latin typeface="+mj-lt"/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1600">
                <a:latin typeface="+mj-lt"/>
              </a:defRPr>
            </a:lvl8pPr>
            <a:lvl9pPr marL="0" indent="0" algn="l">
              <a:buNone/>
              <a:defRPr sz="1600">
                <a:latin typeface="+mj-lt"/>
              </a:defRPr>
            </a:lvl9pPr>
          </a:lstStyle>
          <a:p>
            <a:pPr lvl="0"/>
            <a:r>
              <a:rPr lang="de-DE"/>
              <a:t>Ansprechpartner</a:t>
            </a:r>
          </a:p>
        </p:txBody>
      </p:sp>
      <p:sp>
        <p:nvSpPr>
          <p:cNvPr id="45" name="Datumsplatzhalter 2">
            <a:extLst>
              <a:ext uri="{FF2B5EF4-FFF2-40B4-BE49-F238E27FC236}">
                <a16:creationId xmlns:a16="http://schemas.microsoft.com/office/drawing/2014/main" id="{BF9E35EE-32AE-4A57-8CEF-690AF841887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160919" y="6991314"/>
            <a:ext cx="457993" cy="101671"/>
          </a:xfrm>
        </p:spPr>
        <p:txBody>
          <a:bodyPr/>
          <a:lstStyle/>
          <a:p>
            <a:pPr algn="r"/>
            <a:fld id="{D2BEB95D-027C-42B0-B639-E1E1A6F736E2}" type="datetime1">
              <a:rPr lang="de-DE" smtClean="0"/>
              <a:t>2022-01-13</a:t>
            </a:fld>
            <a:endParaRPr lang="de-DE"/>
          </a:p>
        </p:txBody>
      </p:sp>
      <p:sp>
        <p:nvSpPr>
          <p:cNvPr id="46" name="Fußzeilenplatzhalter 3">
            <a:extLst>
              <a:ext uri="{FF2B5EF4-FFF2-40B4-BE49-F238E27FC236}">
                <a16:creationId xmlns:a16="http://schemas.microsoft.com/office/drawing/2014/main" id="{A7F976A1-03EA-4935-874D-7F9EF6D57F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401051" y="6991314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47" name="Foliennummernplatzhalter 5">
            <a:extLst>
              <a:ext uri="{FF2B5EF4-FFF2-40B4-BE49-F238E27FC236}">
                <a16:creationId xmlns:a16="http://schemas.microsoft.com/office/drawing/2014/main" id="{F6AA3DB3-A17B-46ED-A5E1-74092F67E6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25538" y="6991314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8" name="Textfeld 47">
            <a:extLst>
              <a:ext uri="{FF2B5EF4-FFF2-40B4-BE49-F238E27FC236}">
                <a16:creationId xmlns:a16="http://schemas.microsoft.com/office/drawing/2014/main" id="{A7E0B9BD-E961-4821-9BA8-41836ABB95C4}"/>
              </a:ext>
            </a:extLst>
          </p:cNvPr>
          <p:cNvSpPr txBox="1">
            <a:spLocks/>
          </p:cNvSpPr>
          <p:nvPr userDrawn="1"/>
        </p:nvSpPr>
        <p:spPr>
          <a:xfrm>
            <a:off x="1487489" y="2825750"/>
            <a:ext cx="4608514" cy="1216025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lvl1pPr lvl="0">
              <a:lnSpc>
                <a:spcPct val="80000"/>
              </a:lnSpc>
              <a:spcBef>
                <a:spcPct val="0"/>
              </a:spcBef>
              <a:buNone/>
              <a:defRPr lang="de-DE" sz="5400" baseline="0" dirty="0">
                <a:latin typeface="Officina Sans ITC Pro Medium" panose="020C0606030503020204" pitchFamily="34" charset="0"/>
                <a:ea typeface="Inter Medium" panose="020B0502030000000004" pitchFamily="34" charset="0"/>
              </a:defRPr>
            </a:lvl1pPr>
            <a:lvl2pPr>
              <a:lnSpc>
                <a:spcPct val="80000"/>
              </a:lnSpc>
              <a:defRPr sz="5400" baseline="0">
                <a:latin typeface="+mj-lt"/>
              </a:defRPr>
            </a:lvl2pPr>
            <a:lvl3pPr>
              <a:lnSpc>
                <a:spcPct val="80000"/>
              </a:lnSpc>
              <a:defRPr sz="5400" baseline="0">
                <a:latin typeface="+mj-lt"/>
              </a:defRPr>
            </a:lvl3pPr>
            <a:lvl4pPr>
              <a:lnSpc>
                <a:spcPct val="80000"/>
              </a:lnSpc>
              <a:defRPr sz="5400" b="0" baseline="0">
                <a:latin typeface="+mj-lt"/>
              </a:defRPr>
            </a:lvl4pPr>
            <a:lvl5pPr>
              <a:lnSpc>
                <a:spcPct val="80000"/>
              </a:lnSpc>
              <a:defRPr sz="5400" baseline="0">
                <a:latin typeface="+mj-lt"/>
              </a:defRPr>
            </a:lvl5pPr>
            <a:lvl6pPr>
              <a:lnSpc>
                <a:spcPct val="80000"/>
              </a:lnSpc>
              <a:defRPr sz="5400" baseline="0">
                <a:latin typeface="+mj-lt"/>
              </a:defRPr>
            </a:lvl6pPr>
            <a:lvl7pPr>
              <a:lnSpc>
                <a:spcPct val="80000"/>
              </a:lnSpc>
              <a:defRPr sz="5400" baseline="0">
                <a:latin typeface="+mj-lt"/>
              </a:defRPr>
            </a:lvl7pPr>
            <a:lvl8pPr>
              <a:lnSpc>
                <a:spcPct val="80000"/>
              </a:lnSpc>
              <a:defRPr sz="5400" baseline="0">
                <a:latin typeface="+mj-lt"/>
              </a:defRPr>
            </a:lvl8pPr>
            <a:lvl9pPr>
              <a:lnSpc>
                <a:spcPct val="80000"/>
              </a:lnSpc>
              <a:defRPr sz="5400" baseline="0">
                <a:latin typeface="+mj-lt"/>
              </a:defRPr>
            </a:lvl9pPr>
          </a:lstStyle>
          <a:p>
            <a:pPr lvl="0"/>
            <a:r>
              <a:rPr lang="de-DE" noProof="0"/>
              <a:t>Kontakt</a:t>
            </a:r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540F5CBA-0E28-443D-A0AD-E0BC0E45965C}"/>
              </a:ext>
            </a:extLst>
          </p:cNvPr>
          <p:cNvSpPr txBox="1">
            <a:spLocks/>
          </p:cNvSpPr>
          <p:nvPr userDrawn="1"/>
        </p:nvSpPr>
        <p:spPr>
          <a:xfrm>
            <a:off x="1487488" y="4286485"/>
            <a:ext cx="4608513" cy="189275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90000"/>
              <a:buFont typeface="Inter Semi Bold" panose="020B0702030000000004" pitchFamily="34" charset="0"/>
              <a:buNone/>
              <a:defRPr lang="de-DE" sz="1600" b="0" dirty="0">
                <a:latin typeface="+mj-lt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tabLst/>
              <a:defRPr sz="1600" b="0"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defRPr sz="1600" b="0">
                <a:latin typeface="+mj-lt"/>
              </a:defRPr>
            </a:lvl5pPr>
            <a:lvl6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8pPr>
            <a:lvl9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9pPr>
          </a:lstStyle>
          <a:p>
            <a:pPr lvl="0">
              <a:spcAft>
                <a:spcPts val="1200"/>
              </a:spcAft>
            </a:pPr>
            <a:r>
              <a:rPr lang="de-DE" noProof="0" err="1">
                <a:latin typeface="+mn-lt"/>
              </a:rPr>
              <a:t>LichtBlick</a:t>
            </a:r>
            <a:r>
              <a:rPr lang="de-DE" noProof="0">
                <a:latin typeface="+mn-lt"/>
              </a:rPr>
              <a:t> SE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Zirkusweg 6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20359 Hamburg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Telefon: 040-63 60 0</a:t>
            </a:r>
          </a:p>
          <a:p>
            <a:pPr lvl="0"/>
            <a:r>
              <a:rPr lang="de-DE" noProof="0">
                <a:latin typeface="+mn-lt"/>
              </a:rPr>
              <a:t>info@lichtblick.de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www.lichtblick.de</a:t>
            </a:r>
          </a:p>
        </p:txBody>
      </p:sp>
    </p:spTree>
    <p:extLst>
      <p:ext uri="{BB962C8B-B14F-4D97-AF65-F5344CB8AC3E}">
        <p14:creationId xmlns:p14="http://schemas.microsoft.com/office/powerpoint/2010/main" val="2521809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hteck 22">
            <a:extLst>
              <a:ext uri="{FF2B5EF4-FFF2-40B4-BE49-F238E27FC236}">
                <a16:creationId xmlns:a16="http://schemas.microsoft.com/office/drawing/2014/main" id="{400A9630-E268-4D88-8763-BC14F4231BFD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51" name="Bildplatzhalter 50">
            <a:extLst>
              <a:ext uri="{FF2B5EF4-FFF2-40B4-BE49-F238E27FC236}">
                <a16:creationId xmlns:a16="http://schemas.microsoft.com/office/drawing/2014/main" id="{3FAC17A4-5C8B-43CE-B618-171D4C8F52D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401050 w 12192000"/>
              <a:gd name="connsiteY3" fmla="*/ 6858000 h 6858000"/>
              <a:gd name="connsiteX4" fmla="*/ 8401050 w 12192000"/>
              <a:gd name="connsiteY4" fmla="*/ 3420567 h 6858000"/>
              <a:gd name="connsiteX5" fmla="*/ 7164883 w 12192000"/>
              <a:gd name="connsiteY5" fmla="*/ 2184400 h 6858000"/>
              <a:gd name="connsiteX6" fmla="*/ 0 w 12192000"/>
              <a:gd name="connsiteY6" fmla="*/ 21844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401050" y="6858000"/>
                </a:lnTo>
                <a:lnTo>
                  <a:pt x="8401050" y="3420567"/>
                </a:lnTo>
                <a:cubicBezTo>
                  <a:pt x="8401050" y="2737851"/>
                  <a:pt x="7847599" y="2184400"/>
                  <a:pt x="7164883" y="2184400"/>
                </a:cubicBezTo>
                <a:lnTo>
                  <a:pt x="0" y="218440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grpSp>
        <p:nvGrpSpPr>
          <p:cNvPr id="52" name="Gruppieren 51">
            <a:extLst>
              <a:ext uri="{FF2B5EF4-FFF2-40B4-BE49-F238E27FC236}">
                <a16:creationId xmlns:a16="http://schemas.microsoft.com/office/drawing/2014/main" id="{5AEA2E3C-9E3F-45EA-A8BA-FF5DAC7AC446}"/>
              </a:ext>
            </a:extLst>
          </p:cNvPr>
          <p:cNvGrpSpPr/>
          <p:nvPr userDrawn="1"/>
        </p:nvGrpSpPr>
        <p:grpSpPr>
          <a:xfrm>
            <a:off x="1487485" y="2887661"/>
            <a:ext cx="1512888" cy="403647"/>
            <a:chOff x="464743" y="1368699"/>
            <a:chExt cx="2380058" cy="635012"/>
          </a:xfrm>
        </p:grpSpPr>
        <p:sp>
          <p:nvSpPr>
            <p:cNvPr id="53" name="Oval 5">
              <a:extLst>
                <a:ext uri="{FF2B5EF4-FFF2-40B4-BE49-F238E27FC236}">
                  <a16:creationId xmlns:a16="http://schemas.microsoft.com/office/drawing/2014/main" id="{57DC0B9F-01EC-49A3-9E86-1DB9E4ED98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54" name="Freeform 6">
              <a:extLst>
                <a:ext uri="{FF2B5EF4-FFF2-40B4-BE49-F238E27FC236}">
                  <a16:creationId xmlns:a16="http://schemas.microsoft.com/office/drawing/2014/main" id="{9B9FEFDC-416A-4ABB-9F7A-236D0CEEC4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55" name="Gruppieren 54">
              <a:extLst>
                <a:ext uri="{FF2B5EF4-FFF2-40B4-BE49-F238E27FC236}">
                  <a16:creationId xmlns:a16="http://schemas.microsoft.com/office/drawing/2014/main" id="{963F1CB9-400C-4869-B592-6A147EACD152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56" name="Freeform 7">
                <a:extLst>
                  <a:ext uri="{FF2B5EF4-FFF2-40B4-BE49-F238E27FC236}">
                    <a16:creationId xmlns:a16="http://schemas.microsoft.com/office/drawing/2014/main" id="{E52A645E-6190-4BAD-991C-39894C93AC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57" name="Freeform 8">
                <a:extLst>
                  <a:ext uri="{FF2B5EF4-FFF2-40B4-BE49-F238E27FC236}">
                    <a16:creationId xmlns:a16="http://schemas.microsoft.com/office/drawing/2014/main" id="{4F9843DB-16F0-46AC-A1EF-3338C337D07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58" name="Freeform 9">
                <a:extLst>
                  <a:ext uri="{FF2B5EF4-FFF2-40B4-BE49-F238E27FC236}">
                    <a16:creationId xmlns:a16="http://schemas.microsoft.com/office/drawing/2014/main" id="{9926870A-6628-41FC-B399-DAB7083B8B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59" name="Freeform 10">
                <a:extLst>
                  <a:ext uri="{FF2B5EF4-FFF2-40B4-BE49-F238E27FC236}">
                    <a16:creationId xmlns:a16="http://schemas.microsoft.com/office/drawing/2014/main" id="{DCF3258F-E6B5-400F-9F23-7C69876903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0" name="Freeform 11">
                <a:extLst>
                  <a:ext uri="{FF2B5EF4-FFF2-40B4-BE49-F238E27FC236}">
                    <a16:creationId xmlns:a16="http://schemas.microsoft.com/office/drawing/2014/main" id="{87DC1906-3B94-4188-B7CC-F97C41995D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1" name="Freeform 12">
                <a:extLst>
                  <a:ext uri="{FF2B5EF4-FFF2-40B4-BE49-F238E27FC236}">
                    <a16:creationId xmlns:a16="http://schemas.microsoft.com/office/drawing/2014/main" id="{1A9B9CBB-91B6-46EB-972C-9D9E0F3BD74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2" name="Freeform 13">
                <a:extLst>
                  <a:ext uri="{FF2B5EF4-FFF2-40B4-BE49-F238E27FC236}">
                    <a16:creationId xmlns:a16="http://schemas.microsoft.com/office/drawing/2014/main" id="{201A6006-9AD5-4854-9CDD-1EA06BD9D0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3" name="Freeform 14">
                <a:extLst>
                  <a:ext uri="{FF2B5EF4-FFF2-40B4-BE49-F238E27FC236}">
                    <a16:creationId xmlns:a16="http://schemas.microsoft.com/office/drawing/2014/main" id="{8B8BFF41-5284-4CDC-B416-992EAF814BD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4" name="Freeform 15">
                <a:extLst>
                  <a:ext uri="{FF2B5EF4-FFF2-40B4-BE49-F238E27FC236}">
                    <a16:creationId xmlns:a16="http://schemas.microsoft.com/office/drawing/2014/main" id="{93213C91-9028-44F2-A3C8-673E10370E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5" name="Freeform 16">
                <a:extLst>
                  <a:ext uri="{FF2B5EF4-FFF2-40B4-BE49-F238E27FC236}">
                    <a16:creationId xmlns:a16="http://schemas.microsoft.com/office/drawing/2014/main" id="{D6AA74E2-BF29-4264-814F-3AA3AC6151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66" name="Datumsplatzhalter 2">
            <a:extLst>
              <a:ext uri="{FF2B5EF4-FFF2-40B4-BE49-F238E27FC236}">
                <a16:creationId xmlns:a16="http://schemas.microsoft.com/office/drawing/2014/main" id="{9B508590-A8E9-4FF5-9317-1BD56248057F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11160919" y="7101333"/>
            <a:ext cx="457993" cy="101671"/>
          </a:xfrm>
        </p:spPr>
        <p:txBody>
          <a:bodyPr/>
          <a:lstStyle/>
          <a:p>
            <a:pPr algn="r"/>
            <a:fld id="{7E3625F2-B057-45DF-8FF0-4C8EFB8490DC}" type="datetime1">
              <a:rPr lang="de-DE" smtClean="0"/>
              <a:t>2022-01-13</a:t>
            </a:fld>
            <a:endParaRPr lang="de-DE"/>
          </a:p>
        </p:txBody>
      </p:sp>
      <p:sp>
        <p:nvSpPr>
          <p:cNvPr id="67" name="Fußzeilenplatzhalter 3">
            <a:extLst>
              <a:ext uri="{FF2B5EF4-FFF2-40B4-BE49-F238E27FC236}">
                <a16:creationId xmlns:a16="http://schemas.microsoft.com/office/drawing/2014/main" id="{8EFE864B-0C11-44A8-BFA4-30C0F402A0C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8401051" y="7101333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68" name="Foliennummernplatzhalter 4">
            <a:extLst>
              <a:ext uri="{FF2B5EF4-FFF2-40B4-BE49-F238E27FC236}">
                <a16:creationId xmlns:a16="http://schemas.microsoft.com/office/drawing/2014/main" id="{9C2243B2-6D57-4F86-9939-1E7853DAA9F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11725538" y="7101333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9" name="Untertitel 2">
            <a:extLst>
              <a:ext uri="{FF2B5EF4-FFF2-40B4-BE49-F238E27FC236}">
                <a16:creationId xmlns:a16="http://schemas.microsoft.com/office/drawing/2014/main" id="{FEEA8252-684F-48D9-B9AD-36775964B31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1487485" y="4041776"/>
            <a:ext cx="4608513" cy="555166"/>
          </a:xfrm>
        </p:spPr>
        <p:txBody>
          <a:bodyPr anchor="t"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latin typeface="+mj-lt"/>
              </a:defRPr>
            </a:lvl5pPr>
            <a:lvl6pPr marL="0" indent="0" algn="l">
              <a:buNone/>
              <a:defRPr sz="1600">
                <a:latin typeface="+mj-lt"/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1600">
                <a:latin typeface="+mj-lt"/>
              </a:defRPr>
            </a:lvl8pPr>
            <a:lvl9pPr marL="0" indent="0" algn="l">
              <a:buNone/>
              <a:defRPr sz="1600">
                <a:latin typeface="+mj-lt"/>
              </a:defRPr>
            </a:lvl9pPr>
          </a:lstStyle>
          <a:p>
            <a:pPr lvl="0"/>
            <a:r>
              <a:rPr lang="de-DE"/>
              <a:t>Ansprechpartner</a:t>
            </a:r>
          </a:p>
        </p:txBody>
      </p:sp>
      <p:sp>
        <p:nvSpPr>
          <p:cNvPr id="70" name="Textfeld 69">
            <a:extLst>
              <a:ext uri="{FF2B5EF4-FFF2-40B4-BE49-F238E27FC236}">
                <a16:creationId xmlns:a16="http://schemas.microsoft.com/office/drawing/2014/main" id="{167387E4-5F60-4A68-B79D-6E8B2AFB4779}"/>
              </a:ext>
            </a:extLst>
          </p:cNvPr>
          <p:cNvSpPr txBox="1">
            <a:spLocks/>
          </p:cNvSpPr>
          <p:nvPr userDrawn="1"/>
        </p:nvSpPr>
        <p:spPr>
          <a:xfrm>
            <a:off x="1487486" y="3458633"/>
            <a:ext cx="4608514" cy="58314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lvl1pPr lvl="0">
              <a:lnSpc>
                <a:spcPct val="80000"/>
              </a:lnSpc>
              <a:spcBef>
                <a:spcPct val="0"/>
              </a:spcBef>
              <a:buNone/>
              <a:defRPr lang="de-DE" sz="5400" baseline="0" dirty="0">
                <a:latin typeface="Officina Sans ITC Pro Medium" panose="020C0606030503020204" pitchFamily="34" charset="0"/>
                <a:ea typeface="Inter Medium" panose="020B0502030000000004" pitchFamily="34" charset="0"/>
              </a:defRPr>
            </a:lvl1pPr>
            <a:lvl2pPr>
              <a:lnSpc>
                <a:spcPct val="80000"/>
              </a:lnSpc>
              <a:defRPr sz="5400" baseline="0">
                <a:latin typeface="+mj-lt"/>
              </a:defRPr>
            </a:lvl2pPr>
            <a:lvl3pPr>
              <a:lnSpc>
                <a:spcPct val="80000"/>
              </a:lnSpc>
              <a:defRPr sz="5400" baseline="0">
                <a:latin typeface="+mj-lt"/>
              </a:defRPr>
            </a:lvl3pPr>
            <a:lvl4pPr>
              <a:lnSpc>
                <a:spcPct val="80000"/>
              </a:lnSpc>
              <a:defRPr sz="5400" b="0" baseline="0">
                <a:latin typeface="+mj-lt"/>
              </a:defRPr>
            </a:lvl4pPr>
            <a:lvl5pPr>
              <a:lnSpc>
                <a:spcPct val="80000"/>
              </a:lnSpc>
              <a:defRPr sz="5400" baseline="0">
                <a:latin typeface="+mj-lt"/>
              </a:defRPr>
            </a:lvl5pPr>
            <a:lvl6pPr>
              <a:lnSpc>
                <a:spcPct val="80000"/>
              </a:lnSpc>
              <a:defRPr sz="5400" baseline="0">
                <a:latin typeface="+mj-lt"/>
              </a:defRPr>
            </a:lvl6pPr>
            <a:lvl7pPr>
              <a:lnSpc>
                <a:spcPct val="80000"/>
              </a:lnSpc>
              <a:defRPr sz="5400" baseline="0">
                <a:latin typeface="+mj-lt"/>
              </a:defRPr>
            </a:lvl7pPr>
            <a:lvl8pPr>
              <a:lnSpc>
                <a:spcPct val="80000"/>
              </a:lnSpc>
              <a:defRPr sz="5400" baseline="0">
                <a:latin typeface="+mj-lt"/>
              </a:defRPr>
            </a:lvl8pPr>
            <a:lvl9pPr>
              <a:lnSpc>
                <a:spcPct val="80000"/>
              </a:lnSpc>
              <a:defRPr sz="5400" baseline="0">
                <a:latin typeface="+mj-lt"/>
              </a:defRPr>
            </a:lvl9pPr>
          </a:lstStyle>
          <a:p>
            <a:pPr lvl="0"/>
            <a:r>
              <a:rPr lang="de-DE" noProof="0"/>
              <a:t>Kontakt</a:t>
            </a:r>
          </a:p>
        </p:txBody>
      </p:sp>
      <p:sp>
        <p:nvSpPr>
          <p:cNvPr id="71" name="Textfeld 70">
            <a:extLst>
              <a:ext uri="{FF2B5EF4-FFF2-40B4-BE49-F238E27FC236}">
                <a16:creationId xmlns:a16="http://schemas.microsoft.com/office/drawing/2014/main" id="{5C0DDD55-B655-4207-8868-68E3C13220A8}"/>
              </a:ext>
            </a:extLst>
          </p:cNvPr>
          <p:cNvSpPr txBox="1">
            <a:spLocks/>
          </p:cNvSpPr>
          <p:nvPr userDrawn="1"/>
        </p:nvSpPr>
        <p:spPr>
          <a:xfrm>
            <a:off x="1487485" y="4596942"/>
            <a:ext cx="4608513" cy="189275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90000"/>
              <a:buFont typeface="Inter Semi Bold" panose="020B0702030000000004" pitchFamily="34" charset="0"/>
              <a:buNone/>
              <a:defRPr lang="de-DE" sz="1600" b="0" dirty="0">
                <a:latin typeface="+mj-lt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tabLst/>
              <a:defRPr sz="1600" b="0"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defRPr sz="1600" b="0">
                <a:latin typeface="+mj-lt"/>
              </a:defRPr>
            </a:lvl5pPr>
            <a:lvl6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8pPr>
            <a:lvl9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9pPr>
          </a:lstStyle>
          <a:p>
            <a:pPr lvl="0">
              <a:spcAft>
                <a:spcPts val="1200"/>
              </a:spcAft>
            </a:pPr>
            <a:r>
              <a:rPr lang="de-DE" noProof="0" err="1"/>
              <a:t>LichtBlick</a:t>
            </a:r>
            <a:r>
              <a:rPr lang="de-DE" noProof="0"/>
              <a:t> SE</a:t>
            </a:r>
            <a:br>
              <a:rPr lang="de-DE" noProof="0"/>
            </a:br>
            <a:r>
              <a:rPr lang="de-DE" noProof="0"/>
              <a:t>Zirkusweg 6</a:t>
            </a:r>
            <a:br>
              <a:rPr lang="de-DE" noProof="0"/>
            </a:br>
            <a:r>
              <a:rPr lang="de-DE" noProof="0"/>
              <a:t>20359 Hamburg</a:t>
            </a:r>
            <a:br>
              <a:rPr lang="de-DE" noProof="0"/>
            </a:br>
            <a:r>
              <a:rPr lang="de-DE" noProof="0"/>
              <a:t>Telefon: 040-63 60 0</a:t>
            </a:r>
          </a:p>
          <a:p>
            <a:pPr lvl="0"/>
            <a:r>
              <a:rPr lang="de-DE" noProof="0"/>
              <a:t>info@lichtblick.de</a:t>
            </a:r>
            <a:br>
              <a:rPr lang="de-DE" noProof="0"/>
            </a:br>
            <a:r>
              <a:rPr lang="de-DE" noProof="0"/>
              <a:t>www.lichtblick.de</a:t>
            </a:r>
          </a:p>
        </p:txBody>
      </p:sp>
    </p:spTree>
    <p:extLst>
      <p:ext uri="{BB962C8B-B14F-4D97-AF65-F5344CB8AC3E}">
        <p14:creationId xmlns:p14="http://schemas.microsoft.com/office/powerpoint/2010/main" val="187259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EB1863D8-DB63-4C22-AAA7-72EDC9CB82FD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6EA14A0-3613-4360-88EF-0253BBAD92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25A226BC-AA7C-4A77-AF6B-45F0C0A6AD1C}" type="datetime1">
              <a:rPr lang="de-DE" smtClean="0"/>
              <a:t>2022-01-1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D6DB60C-42BE-40BD-8FF3-383B62B0E6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3053749-1ECC-4AB5-901B-624404F25B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8A1FF1D3-3173-46C3-A244-B65A4C046D40}"/>
              </a:ext>
            </a:extLst>
          </p:cNvPr>
          <p:cNvGrpSpPr/>
          <p:nvPr userDrawn="1"/>
        </p:nvGrpSpPr>
        <p:grpSpPr>
          <a:xfrm>
            <a:off x="10990764" y="364362"/>
            <a:ext cx="867864" cy="231551"/>
            <a:chOff x="464743" y="1368699"/>
            <a:chExt cx="2380058" cy="635012"/>
          </a:xfrm>
        </p:grpSpPr>
        <p:sp>
          <p:nvSpPr>
            <p:cNvPr id="9" name="Oval 5">
              <a:extLst>
                <a:ext uri="{FF2B5EF4-FFF2-40B4-BE49-F238E27FC236}">
                  <a16:creationId xmlns:a16="http://schemas.microsoft.com/office/drawing/2014/main" id="{EDACADA7-20C9-4408-BEAA-E5A9DD1BB5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1908261F-7D21-4331-9B51-D5EA24EADD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1" name="Gruppieren 10">
              <a:extLst>
                <a:ext uri="{FF2B5EF4-FFF2-40B4-BE49-F238E27FC236}">
                  <a16:creationId xmlns:a16="http://schemas.microsoft.com/office/drawing/2014/main" id="{587CD074-2D91-4FBC-9D30-00760237743D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12" name="Freeform 7">
                <a:extLst>
                  <a:ext uri="{FF2B5EF4-FFF2-40B4-BE49-F238E27FC236}">
                    <a16:creationId xmlns:a16="http://schemas.microsoft.com/office/drawing/2014/main" id="{7A8C561C-87CE-45E1-9CFA-9512373D99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3" name="Freeform 8">
                <a:extLst>
                  <a:ext uri="{FF2B5EF4-FFF2-40B4-BE49-F238E27FC236}">
                    <a16:creationId xmlns:a16="http://schemas.microsoft.com/office/drawing/2014/main" id="{72EC9B22-1CF8-4F2A-8E57-58A39ABCA97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4" name="Freeform 9">
                <a:extLst>
                  <a:ext uri="{FF2B5EF4-FFF2-40B4-BE49-F238E27FC236}">
                    <a16:creationId xmlns:a16="http://schemas.microsoft.com/office/drawing/2014/main" id="{AC15ECBF-DF59-45DD-AE5F-B76DA979A4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5" name="Freeform 10">
                <a:extLst>
                  <a:ext uri="{FF2B5EF4-FFF2-40B4-BE49-F238E27FC236}">
                    <a16:creationId xmlns:a16="http://schemas.microsoft.com/office/drawing/2014/main" id="{D73A98C9-6BEB-4661-9643-E74C5A30FA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6" name="Freeform 11">
                <a:extLst>
                  <a:ext uri="{FF2B5EF4-FFF2-40B4-BE49-F238E27FC236}">
                    <a16:creationId xmlns:a16="http://schemas.microsoft.com/office/drawing/2014/main" id="{413BD688-67B3-4777-AE5E-47FB317A07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12">
                <a:extLst>
                  <a:ext uri="{FF2B5EF4-FFF2-40B4-BE49-F238E27FC236}">
                    <a16:creationId xmlns:a16="http://schemas.microsoft.com/office/drawing/2014/main" id="{21D675A5-E087-4E40-92F2-955977DF888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13">
                <a:extLst>
                  <a:ext uri="{FF2B5EF4-FFF2-40B4-BE49-F238E27FC236}">
                    <a16:creationId xmlns:a16="http://schemas.microsoft.com/office/drawing/2014/main" id="{40FB772E-762E-437E-BB51-5DD22DC196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4">
                <a:extLst>
                  <a:ext uri="{FF2B5EF4-FFF2-40B4-BE49-F238E27FC236}">
                    <a16:creationId xmlns:a16="http://schemas.microsoft.com/office/drawing/2014/main" id="{19EF3042-F9D9-42E5-BA79-4A9CD09A5A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5">
                <a:extLst>
                  <a:ext uri="{FF2B5EF4-FFF2-40B4-BE49-F238E27FC236}">
                    <a16:creationId xmlns:a16="http://schemas.microsoft.com/office/drawing/2014/main" id="{EC7CE5F6-A704-449A-BF6A-DEC723415D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6">
                <a:extLst>
                  <a:ext uri="{FF2B5EF4-FFF2-40B4-BE49-F238E27FC236}">
                    <a16:creationId xmlns:a16="http://schemas.microsoft.com/office/drawing/2014/main" id="{BDE56437-557C-4D2A-922C-2208778863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96867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ss_LichtBli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F380F37C-B55F-4B1E-85A9-642BBA4F59BB}"/>
              </a:ext>
            </a:extLst>
          </p:cNvPr>
          <p:cNvGrpSpPr/>
          <p:nvPr userDrawn="1"/>
        </p:nvGrpSpPr>
        <p:grpSpPr bwMode="gray">
          <a:xfrm>
            <a:off x="0" y="0"/>
            <a:ext cx="12192000" cy="6858000"/>
            <a:chOff x="5949952" y="0"/>
            <a:chExt cx="8924928" cy="6858000"/>
          </a:xfrm>
        </p:grpSpPr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51D96DC5-264D-4F98-8B9F-FEF747EDC747}"/>
                </a:ext>
              </a:extLst>
            </p:cNvPr>
            <p:cNvSpPr/>
            <p:nvPr userDrawn="1"/>
          </p:nvSpPr>
          <p:spPr bwMode="gray">
            <a:xfrm>
              <a:off x="5949952" y="0"/>
              <a:ext cx="1487488" cy="6858000"/>
            </a:xfrm>
            <a:prstGeom prst="rect">
              <a:avLst/>
            </a:pr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E33FDE03-4E40-458F-A6DA-F24ECF42F971}"/>
                </a:ext>
              </a:extLst>
            </p:cNvPr>
            <p:cNvSpPr/>
            <p:nvPr userDrawn="1"/>
          </p:nvSpPr>
          <p:spPr bwMode="gray">
            <a:xfrm>
              <a:off x="8924928" y="0"/>
              <a:ext cx="1487488" cy="6858000"/>
            </a:xfrm>
            <a:prstGeom prst="rect">
              <a:avLst/>
            </a:prstGeom>
            <a:solidFill>
              <a:schemeClr val="accent3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DC5EB745-0858-49CC-A0FE-29CBC776FA9E}"/>
                </a:ext>
              </a:extLst>
            </p:cNvPr>
            <p:cNvSpPr/>
            <p:nvPr userDrawn="1"/>
          </p:nvSpPr>
          <p:spPr bwMode="gray">
            <a:xfrm>
              <a:off x="7437440" y="0"/>
              <a:ext cx="1487488" cy="6858000"/>
            </a:xfrm>
            <a:prstGeom prst="rect">
              <a:avLst/>
            </a:prstGeom>
            <a:solidFill>
              <a:schemeClr val="accent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B3533DD8-1C73-4E77-A25E-8DB502C51672}"/>
                </a:ext>
              </a:extLst>
            </p:cNvPr>
            <p:cNvSpPr/>
            <p:nvPr userDrawn="1"/>
          </p:nvSpPr>
          <p:spPr bwMode="gray">
            <a:xfrm>
              <a:off x="10412416" y="0"/>
              <a:ext cx="1487488" cy="6858000"/>
            </a:xfrm>
            <a:prstGeom prst="rect">
              <a:avLst/>
            </a:prstGeom>
            <a:solidFill>
              <a:schemeClr val="accent4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D1547A31-ABF2-495E-9F4B-8DFBF25E488D}"/>
                </a:ext>
              </a:extLst>
            </p:cNvPr>
            <p:cNvSpPr/>
            <p:nvPr userDrawn="1"/>
          </p:nvSpPr>
          <p:spPr bwMode="gray">
            <a:xfrm>
              <a:off x="11899905" y="0"/>
              <a:ext cx="1487488" cy="6858000"/>
            </a:xfrm>
            <a:prstGeom prst="rect">
              <a:avLst/>
            </a:prstGeom>
            <a:solidFill>
              <a:schemeClr val="accent5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3EB218CB-88C3-468E-AF95-E8FE5922C203}"/>
                </a:ext>
              </a:extLst>
            </p:cNvPr>
            <p:cNvSpPr/>
            <p:nvPr userDrawn="1"/>
          </p:nvSpPr>
          <p:spPr bwMode="gray">
            <a:xfrm>
              <a:off x="13387392" y="0"/>
              <a:ext cx="1487488" cy="685800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31" name="Datumsplatzhalter 1">
            <a:extLst>
              <a:ext uri="{FF2B5EF4-FFF2-40B4-BE49-F238E27FC236}">
                <a16:creationId xmlns:a16="http://schemas.microsoft.com/office/drawing/2014/main" id="{1A4D56CF-0343-4911-9D23-19D20CB0D9A9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11160919" y="6491733"/>
            <a:ext cx="457993" cy="101671"/>
          </a:xfrm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r"/>
            <a:fld id="{F99F6CFB-AF27-4F23-AD85-E1615A87A491}" type="datetime1">
              <a:rPr lang="de-DE" smtClean="0"/>
              <a:t>2022-01-13</a:t>
            </a:fld>
            <a:endParaRPr lang="de-DE"/>
          </a:p>
        </p:txBody>
      </p:sp>
      <p:sp>
        <p:nvSpPr>
          <p:cNvPr id="32" name="Fußzeilenplatzhalter 5">
            <a:extLst>
              <a:ext uri="{FF2B5EF4-FFF2-40B4-BE49-F238E27FC236}">
                <a16:creationId xmlns:a16="http://schemas.microsoft.com/office/drawing/2014/main" id="{521C6FE0-7BD8-4269-AF19-F3EF4843B3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8401051" y="6491733"/>
            <a:ext cx="2522534" cy="101671"/>
          </a:xfrm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de-DE"/>
              <a:t>Risk Report 2021 M03</a:t>
            </a:r>
          </a:p>
        </p:txBody>
      </p:sp>
      <p:sp>
        <p:nvSpPr>
          <p:cNvPr id="33" name="Foliennummernplatzhalter 6">
            <a:extLst>
              <a:ext uri="{FF2B5EF4-FFF2-40B4-BE49-F238E27FC236}">
                <a16:creationId xmlns:a16="http://schemas.microsoft.com/office/drawing/2014/main" id="{ABB9D1A2-0A49-42C5-96D0-40A3E4DE8F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11725538" y="6491733"/>
            <a:ext cx="191824" cy="101671"/>
          </a:xfrm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26379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Freihandform: Form 33">
            <a:extLst>
              <a:ext uri="{FF2B5EF4-FFF2-40B4-BE49-F238E27FC236}">
                <a16:creationId xmlns:a16="http://schemas.microsoft.com/office/drawing/2014/main" id="{7A88C1D1-625C-4F4E-BECD-5CB70DEB7CC4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191998 w 12192000"/>
              <a:gd name="connsiteY3" fmla="*/ 6858000 h 6858000"/>
              <a:gd name="connsiteX4" fmla="*/ 12191998 w 12192000"/>
              <a:gd name="connsiteY4" fmla="*/ 3429000 h 6858000"/>
              <a:gd name="connsiteX5" fmla="*/ 8518560 w 12192000"/>
              <a:gd name="connsiteY5" fmla="*/ 3429000 h 6858000"/>
              <a:gd name="connsiteX6" fmla="*/ 7608881 w 12192000"/>
              <a:gd name="connsiteY6" fmla="*/ 4338679 h 6858000"/>
              <a:gd name="connsiteX7" fmla="*/ 7608881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91998" y="6858000"/>
                </a:lnTo>
                <a:lnTo>
                  <a:pt x="12191998" y="3429000"/>
                </a:lnTo>
                <a:lnTo>
                  <a:pt x="8518560" y="3429000"/>
                </a:lnTo>
                <a:cubicBezTo>
                  <a:pt x="8016158" y="3429000"/>
                  <a:pt x="7608881" y="3836277"/>
                  <a:pt x="7608881" y="4338679"/>
                </a:cubicBezTo>
                <a:lnTo>
                  <a:pt x="760888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226" y="2825750"/>
            <a:ext cx="6337300" cy="1216025"/>
          </a:xfrm>
        </p:spPr>
        <p:txBody>
          <a:bodyPr anchor="t"/>
          <a:lstStyle>
            <a:lvl1pPr>
              <a:lnSpc>
                <a:spcPct val="80000"/>
              </a:lnSpc>
              <a:defRPr sz="5400"/>
            </a:lvl1pPr>
            <a:lvl2pPr>
              <a:lnSpc>
                <a:spcPct val="80000"/>
              </a:lnSpc>
              <a:defRPr sz="5400"/>
            </a:lvl2pPr>
            <a:lvl3pPr>
              <a:lnSpc>
                <a:spcPct val="80000"/>
              </a:lnSpc>
              <a:defRPr sz="5400"/>
            </a:lvl3pPr>
            <a:lvl4pPr>
              <a:lnSpc>
                <a:spcPct val="80000"/>
              </a:lnSpc>
              <a:defRPr sz="5400"/>
            </a:lvl4pPr>
            <a:lvl5pPr>
              <a:lnSpc>
                <a:spcPct val="80000"/>
              </a:lnSpc>
              <a:defRPr sz="5400"/>
            </a:lvl5pPr>
            <a:lvl6pPr>
              <a:lnSpc>
                <a:spcPct val="80000"/>
              </a:lnSpc>
              <a:defRPr sz="5400"/>
            </a:lvl6pPr>
            <a:lvl7pPr>
              <a:lnSpc>
                <a:spcPct val="80000"/>
              </a:lnSpc>
              <a:defRPr sz="5400"/>
            </a:lvl7pPr>
            <a:lvl8pPr>
              <a:lnSpc>
                <a:spcPct val="80000"/>
              </a:lnSpc>
              <a:defRPr sz="5400"/>
            </a:lvl8pPr>
            <a:lvl9pPr>
              <a:lnSpc>
                <a:spcPct val="80000"/>
              </a:lnSpc>
              <a:defRPr sz="5400"/>
            </a:lvl9pPr>
          </a:lstStyle>
          <a:p>
            <a:pPr lvl="0"/>
            <a:r>
              <a:rPr lang="de-DE"/>
              <a:t>Präsentationstitel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16C1E5B9-FEB6-4AA6-BD6B-F927D33B7586}"/>
              </a:ext>
            </a:extLst>
          </p:cNvPr>
          <p:cNvGrpSpPr/>
          <p:nvPr/>
        </p:nvGrpSpPr>
        <p:grpSpPr>
          <a:xfrm>
            <a:off x="911225" y="1319215"/>
            <a:ext cx="1439910" cy="384176"/>
            <a:chOff x="464743" y="1368699"/>
            <a:chExt cx="2380058" cy="635012"/>
          </a:xfrm>
        </p:grpSpPr>
        <p:sp>
          <p:nvSpPr>
            <p:cNvPr id="13" name="Oval 5">
              <a:extLst>
                <a:ext uri="{FF2B5EF4-FFF2-40B4-BE49-F238E27FC236}">
                  <a16:creationId xmlns:a16="http://schemas.microsoft.com/office/drawing/2014/main" id="{A63FDF46-9240-4989-8BD0-C8E6ACCDA8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BCEEBEBB-AF39-4FA0-BF2A-C2F67F3089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706779D2-753C-408C-8D8F-2EA69C718621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16" name="Freeform 7">
                <a:extLst>
                  <a:ext uri="{FF2B5EF4-FFF2-40B4-BE49-F238E27FC236}">
                    <a16:creationId xmlns:a16="http://schemas.microsoft.com/office/drawing/2014/main" id="{80064577-26DD-4C45-9CA7-CA84B29940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8">
                <a:extLst>
                  <a:ext uri="{FF2B5EF4-FFF2-40B4-BE49-F238E27FC236}">
                    <a16:creationId xmlns:a16="http://schemas.microsoft.com/office/drawing/2014/main" id="{9D448FEE-A734-446E-B740-78A968A27C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9">
                <a:extLst>
                  <a:ext uri="{FF2B5EF4-FFF2-40B4-BE49-F238E27FC236}">
                    <a16:creationId xmlns:a16="http://schemas.microsoft.com/office/drawing/2014/main" id="{888D8F5D-79D7-4B65-A82D-00FF784BBD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0">
                <a:extLst>
                  <a:ext uri="{FF2B5EF4-FFF2-40B4-BE49-F238E27FC236}">
                    <a16:creationId xmlns:a16="http://schemas.microsoft.com/office/drawing/2014/main" id="{C200D8BD-ED64-4635-B9AE-FBB6DE7A03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1">
                <a:extLst>
                  <a:ext uri="{FF2B5EF4-FFF2-40B4-BE49-F238E27FC236}">
                    <a16:creationId xmlns:a16="http://schemas.microsoft.com/office/drawing/2014/main" id="{4AF606B8-E6F5-4239-AF0E-C3B1CB66F7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2">
                <a:extLst>
                  <a:ext uri="{FF2B5EF4-FFF2-40B4-BE49-F238E27FC236}">
                    <a16:creationId xmlns:a16="http://schemas.microsoft.com/office/drawing/2014/main" id="{4FA34997-3170-4E22-BE0E-39B040570F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3">
                <a:extLst>
                  <a:ext uri="{FF2B5EF4-FFF2-40B4-BE49-F238E27FC236}">
                    <a16:creationId xmlns:a16="http://schemas.microsoft.com/office/drawing/2014/main" id="{E0899F0A-43C2-4A2B-BB23-92FD4E59A0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4">
                <a:extLst>
                  <a:ext uri="{FF2B5EF4-FFF2-40B4-BE49-F238E27FC236}">
                    <a16:creationId xmlns:a16="http://schemas.microsoft.com/office/drawing/2014/main" id="{002B1808-6EF8-43A6-98A3-F218A91060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5">
                <a:extLst>
                  <a:ext uri="{FF2B5EF4-FFF2-40B4-BE49-F238E27FC236}">
                    <a16:creationId xmlns:a16="http://schemas.microsoft.com/office/drawing/2014/main" id="{E469321C-D642-4F96-AE63-CD87201D47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6">
                <a:extLst>
                  <a:ext uri="{FF2B5EF4-FFF2-40B4-BE49-F238E27FC236}">
                    <a16:creationId xmlns:a16="http://schemas.microsoft.com/office/drawing/2014/main" id="{4D226FE2-5036-43B8-8F8D-521582CD79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Textplatzhalter 9">
            <a:extLst>
              <a:ext uri="{FF2B5EF4-FFF2-40B4-BE49-F238E27FC236}">
                <a16:creationId xmlns:a16="http://schemas.microsoft.com/office/drawing/2014/main" id="{A3575644-C415-4736-A0BA-E98385D01B2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85404" y="4483700"/>
            <a:ext cx="4963111" cy="216000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Name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3481B9A9-736B-4492-98F4-CFFBBB93D83D}"/>
              </a:ext>
            </a:extLst>
          </p:cNvPr>
          <p:cNvCxnSpPr>
            <a:cxnSpLocks/>
          </p:cNvCxnSpPr>
          <p:nvPr/>
        </p:nvCxnSpPr>
        <p:spPr>
          <a:xfrm>
            <a:off x="2053928" y="4483700"/>
            <a:ext cx="0" cy="17938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hteck: eine Ecke abgerundet 4">
            <a:extLst>
              <a:ext uri="{FF2B5EF4-FFF2-40B4-BE49-F238E27FC236}">
                <a16:creationId xmlns:a16="http://schemas.microsoft.com/office/drawing/2014/main" id="{0BA872EC-5B2E-4929-AD92-88DAB6266A9E}"/>
              </a:ext>
            </a:extLst>
          </p:cNvPr>
          <p:cNvSpPr/>
          <p:nvPr/>
        </p:nvSpPr>
        <p:spPr>
          <a:xfrm flipH="1">
            <a:off x="7859179" y="3253843"/>
            <a:ext cx="4343397" cy="3614737"/>
          </a:xfrm>
          <a:prstGeom prst="round1Rect">
            <a:avLst>
              <a:gd name="adj" fmla="val 2652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B75EBC14-2DC1-4EDF-B828-6BD98E3DDCBA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917583" y="4483700"/>
            <a:ext cx="904868" cy="216000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smtClean="0"/>
            </a:lvl1pPr>
          </a:lstStyle>
          <a:p>
            <a:pPr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fld id="{B8459C86-75C7-45F7-AC91-90E5F6876BB0}" type="datetime1">
              <a:rPr lang="de-DE" smtClean="0"/>
              <a:t>2022-01-13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2B6A11DD-5E08-4096-BA7B-A2496C1019C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2926201B-F022-402F-AD21-442CBEA104D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90115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Vollbil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5A0E8ACE-F208-4580-9945-A7005B3E229F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34DB811-0D8A-421A-9CDD-47BCA68CAF03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911225" y="6310313"/>
            <a:ext cx="1114412" cy="216000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smtClean="0"/>
            </a:lvl1pPr>
          </a:lstStyle>
          <a:p>
            <a:pPr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fld id="{57312AD3-9EC1-4555-8971-FC979F75EFF4}" type="datetime1">
              <a:rPr lang="de-DE" smtClean="0"/>
              <a:t>2022-01-13</a:t>
            </a:fld>
            <a:endParaRPr lang="de-DE"/>
          </a:p>
        </p:txBody>
      </p:sp>
      <p:sp>
        <p:nvSpPr>
          <p:cNvPr id="26" name="Bildplatzhalter 25">
            <a:extLst>
              <a:ext uri="{FF2B5EF4-FFF2-40B4-BE49-F238E27FC236}">
                <a16:creationId xmlns:a16="http://schemas.microsoft.com/office/drawing/2014/main" id="{A00D384B-B3AA-4CCF-85B7-8EDB1E746B6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7248524 w 12192000"/>
              <a:gd name="connsiteY3" fmla="*/ 6858000 h 6858000"/>
              <a:gd name="connsiteX4" fmla="*/ 7248524 w 12192000"/>
              <a:gd name="connsiteY4" fmla="*/ 4602507 h 6858000"/>
              <a:gd name="connsiteX5" fmla="*/ 6075018 w 12192000"/>
              <a:gd name="connsiteY5" fmla="*/ 3429000 h 6858000"/>
              <a:gd name="connsiteX6" fmla="*/ 317438 w 12192000"/>
              <a:gd name="connsiteY6" fmla="*/ 3429000 h 6858000"/>
              <a:gd name="connsiteX7" fmla="*/ 6677 w 12192000"/>
              <a:gd name="connsiteY7" fmla="*/ 3429000 h 6858000"/>
              <a:gd name="connsiteX8" fmla="*/ 0 w 12192000"/>
              <a:gd name="connsiteY8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7248524" y="6858000"/>
                </a:lnTo>
                <a:lnTo>
                  <a:pt x="7248524" y="4602507"/>
                </a:lnTo>
                <a:cubicBezTo>
                  <a:pt x="7248524" y="3954397"/>
                  <a:pt x="6723127" y="3429000"/>
                  <a:pt x="6075018" y="3429000"/>
                </a:cubicBezTo>
                <a:lnTo>
                  <a:pt x="317438" y="3429000"/>
                </a:lnTo>
                <a:lnTo>
                  <a:pt x="6677" y="3429000"/>
                </a:lnTo>
                <a:lnTo>
                  <a:pt x="0" y="342900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225" y="4318000"/>
            <a:ext cx="5184775" cy="1673225"/>
          </a:xfrm>
        </p:spPr>
        <p:txBody>
          <a:bodyPr anchor="t"/>
          <a:lstStyle>
            <a:lvl1pPr>
              <a:lnSpc>
                <a:spcPct val="80000"/>
              </a:lnSpc>
              <a:defRPr sz="5400"/>
            </a:lvl1pPr>
            <a:lvl2pPr>
              <a:lnSpc>
                <a:spcPct val="80000"/>
              </a:lnSpc>
              <a:defRPr sz="5400"/>
            </a:lvl2pPr>
            <a:lvl3pPr>
              <a:lnSpc>
                <a:spcPct val="80000"/>
              </a:lnSpc>
              <a:defRPr sz="5400"/>
            </a:lvl3pPr>
            <a:lvl4pPr>
              <a:lnSpc>
                <a:spcPct val="80000"/>
              </a:lnSpc>
              <a:defRPr sz="5400"/>
            </a:lvl4pPr>
            <a:lvl5pPr>
              <a:lnSpc>
                <a:spcPct val="80000"/>
              </a:lnSpc>
              <a:defRPr sz="5400"/>
            </a:lvl5pPr>
            <a:lvl6pPr>
              <a:lnSpc>
                <a:spcPct val="80000"/>
              </a:lnSpc>
              <a:defRPr sz="5400"/>
            </a:lvl6pPr>
            <a:lvl7pPr>
              <a:lnSpc>
                <a:spcPct val="80000"/>
              </a:lnSpc>
              <a:defRPr sz="5400"/>
            </a:lvl7pPr>
            <a:lvl8pPr>
              <a:lnSpc>
                <a:spcPct val="80000"/>
              </a:lnSpc>
              <a:defRPr sz="5400"/>
            </a:lvl8pPr>
            <a:lvl9pPr>
              <a:lnSpc>
                <a:spcPct val="80000"/>
              </a:lnSpc>
              <a:defRPr sz="5400"/>
            </a:lvl9pPr>
          </a:lstStyle>
          <a:p>
            <a:pPr lvl="0"/>
            <a:r>
              <a:rPr lang="de-DE"/>
              <a:t>Präsentations-</a:t>
            </a:r>
            <a:br>
              <a:rPr lang="de-DE"/>
            </a:br>
            <a:r>
              <a:rPr lang="de-DE" err="1"/>
              <a:t>titel</a:t>
            </a:r>
            <a:endParaRPr lang="de-DE"/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16C1E5B9-FEB6-4AA6-BD6B-F927D33B7586}"/>
              </a:ext>
            </a:extLst>
          </p:cNvPr>
          <p:cNvGrpSpPr/>
          <p:nvPr/>
        </p:nvGrpSpPr>
        <p:grpSpPr>
          <a:xfrm>
            <a:off x="911225" y="3830191"/>
            <a:ext cx="1011508" cy="269876"/>
            <a:chOff x="464743" y="1368699"/>
            <a:chExt cx="2380058" cy="635012"/>
          </a:xfrm>
        </p:grpSpPr>
        <p:sp>
          <p:nvSpPr>
            <p:cNvPr id="13" name="Oval 5">
              <a:extLst>
                <a:ext uri="{FF2B5EF4-FFF2-40B4-BE49-F238E27FC236}">
                  <a16:creationId xmlns:a16="http://schemas.microsoft.com/office/drawing/2014/main" id="{A63FDF46-9240-4989-8BD0-C8E6ACCDA8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BCEEBEBB-AF39-4FA0-BF2A-C2F67F3089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706779D2-753C-408C-8D8F-2EA69C718621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16" name="Freeform 7">
                <a:extLst>
                  <a:ext uri="{FF2B5EF4-FFF2-40B4-BE49-F238E27FC236}">
                    <a16:creationId xmlns:a16="http://schemas.microsoft.com/office/drawing/2014/main" id="{80064577-26DD-4C45-9CA7-CA84B29940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8">
                <a:extLst>
                  <a:ext uri="{FF2B5EF4-FFF2-40B4-BE49-F238E27FC236}">
                    <a16:creationId xmlns:a16="http://schemas.microsoft.com/office/drawing/2014/main" id="{9D448FEE-A734-446E-B740-78A968A27C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9">
                <a:extLst>
                  <a:ext uri="{FF2B5EF4-FFF2-40B4-BE49-F238E27FC236}">
                    <a16:creationId xmlns:a16="http://schemas.microsoft.com/office/drawing/2014/main" id="{888D8F5D-79D7-4B65-A82D-00FF784BBD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0">
                <a:extLst>
                  <a:ext uri="{FF2B5EF4-FFF2-40B4-BE49-F238E27FC236}">
                    <a16:creationId xmlns:a16="http://schemas.microsoft.com/office/drawing/2014/main" id="{C200D8BD-ED64-4635-B9AE-FBB6DE7A03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1">
                <a:extLst>
                  <a:ext uri="{FF2B5EF4-FFF2-40B4-BE49-F238E27FC236}">
                    <a16:creationId xmlns:a16="http://schemas.microsoft.com/office/drawing/2014/main" id="{4AF606B8-E6F5-4239-AF0E-C3B1CB66F7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2">
                <a:extLst>
                  <a:ext uri="{FF2B5EF4-FFF2-40B4-BE49-F238E27FC236}">
                    <a16:creationId xmlns:a16="http://schemas.microsoft.com/office/drawing/2014/main" id="{4FA34997-3170-4E22-BE0E-39B040570F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3">
                <a:extLst>
                  <a:ext uri="{FF2B5EF4-FFF2-40B4-BE49-F238E27FC236}">
                    <a16:creationId xmlns:a16="http://schemas.microsoft.com/office/drawing/2014/main" id="{E0899F0A-43C2-4A2B-BB23-92FD4E59A0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4">
                <a:extLst>
                  <a:ext uri="{FF2B5EF4-FFF2-40B4-BE49-F238E27FC236}">
                    <a16:creationId xmlns:a16="http://schemas.microsoft.com/office/drawing/2014/main" id="{002B1808-6EF8-43A6-98A3-F218A91060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5">
                <a:extLst>
                  <a:ext uri="{FF2B5EF4-FFF2-40B4-BE49-F238E27FC236}">
                    <a16:creationId xmlns:a16="http://schemas.microsoft.com/office/drawing/2014/main" id="{E469321C-D642-4F96-AE63-CD87201D47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6">
                <a:extLst>
                  <a:ext uri="{FF2B5EF4-FFF2-40B4-BE49-F238E27FC236}">
                    <a16:creationId xmlns:a16="http://schemas.microsoft.com/office/drawing/2014/main" id="{4D226FE2-5036-43B8-8F8D-521582CD79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Textplatzhalter 9">
            <a:extLst>
              <a:ext uri="{FF2B5EF4-FFF2-40B4-BE49-F238E27FC236}">
                <a16:creationId xmlns:a16="http://schemas.microsoft.com/office/drawing/2014/main" id="{A3575644-C415-4736-A0BA-E98385D01B2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79048" y="6310313"/>
            <a:ext cx="3816952" cy="216000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Sprecher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3481B9A9-736B-4492-98F4-CFFBBB93D83D}"/>
              </a:ext>
            </a:extLst>
          </p:cNvPr>
          <p:cNvCxnSpPr/>
          <p:nvPr/>
        </p:nvCxnSpPr>
        <p:spPr>
          <a:xfrm>
            <a:off x="2083772" y="6310313"/>
            <a:ext cx="0" cy="17938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437FBB7-9757-4A42-823D-017F0EC58B9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8401051" y="7075933"/>
            <a:ext cx="2522534" cy="101671"/>
          </a:xfrm>
        </p:spPr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7483039-7586-475E-BC6A-3A8359872F8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725538" y="7075933"/>
            <a:ext cx="191824" cy="101671"/>
          </a:xfrm>
        </p:spPr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21021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reihandform: Form 36">
            <a:extLst>
              <a:ext uri="{FF2B5EF4-FFF2-40B4-BE49-F238E27FC236}">
                <a16:creationId xmlns:a16="http://schemas.microsoft.com/office/drawing/2014/main" id="{5A4CE6BF-C665-428A-8A94-D74142A2F4B7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5555456 h 6858000"/>
              <a:gd name="connsiteX3" fmla="*/ 12034223 w 12192000"/>
              <a:gd name="connsiteY3" fmla="*/ 5555456 h 6858000"/>
              <a:gd name="connsiteX4" fmla="*/ 12034202 w 12192000"/>
              <a:gd name="connsiteY4" fmla="*/ 5555455 h 6858000"/>
              <a:gd name="connsiteX5" fmla="*/ 2241392 w 12192000"/>
              <a:gd name="connsiteY5" fmla="*/ 5555455 h 6858000"/>
              <a:gd name="connsiteX6" fmla="*/ 1321594 w 12192000"/>
              <a:gd name="connsiteY6" fmla="*/ 6475253 h 6858000"/>
              <a:gd name="connsiteX7" fmla="*/ 1321594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5555456"/>
                </a:lnTo>
                <a:lnTo>
                  <a:pt x="12034223" y="5555456"/>
                </a:lnTo>
                <a:lnTo>
                  <a:pt x="12034202" y="5555455"/>
                </a:lnTo>
                <a:lnTo>
                  <a:pt x="2241392" y="5555455"/>
                </a:lnTo>
                <a:cubicBezTo>
                  <a:pt x="1733402" y="5555455"/>
                  <a:pt x="1321594" y="5967263"/>
                  <a:pt x="1321594" y="6475253"/>
                </a:cubicBezTo>
                <a:lnTo>
                  <a:pt x="132159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944563"/>
            <a:ext cx="3095625" cy="647698"/>
          </a:xfrm>
        </p:spPr>
        <p:txBody>
          <a:bodyPr anchor="t"/>
          <a:lstStyle>
            <a:lvl1pPr>
              <a:defRPr sz="5400"/>
            </a:lvl1pPr>
            <a:lvl2pPr>
              <a:defRPr sz="5400"/>
            </a:lvl2pPr>
            <a:lvl3pPr>
              <a:defRPr sz="5400"/>
            </a:lvl3pPr>
            <a:lvl4pPr>
              <a:defRPr sz="5400"/>
            </a:lvl4pPr>
            <a:lvl5pPr>
              <a:defRPr sz="5400"/>
            </a:lvl5pPr>
            <a:lvl6pPr>
              <a:defRPr sz="5400"/>
            </a:lvl6pPr>
            <a:lvl7pPr>
              <a:defRPr sz="5400"/>
            </a:lvl7pPr>
            <a:lvl8pPr>
              <a:defRPr sz="5400"/>
            </a:lvl8pPr>
            <a:lvl9pPr>
              <a:defRPr sz="5400"/>
            </a:lvl9pPr>
          </a:lstStyle>
          <a:p>
            <a:pPr lvl="0"/>
            <a:r>
              <a:rPr lang="de-DE"/>
              <a:t>Agenda</a:t>
            </a: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5633BB16-81E2-41BA-8DB1-CB4727975DC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83113" y="1592261"/>
            <a:ext cx="3817937" cy="3673475"/>
          </a:xfrm>
        </p:spPr>
        <p:txBody>
          <a:bodyPr/>
          <a:lstStyle>
            <a:lvl1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Ers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Zwei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Drit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Vier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Fünfte Ebene für Aufzählungen</a:t>
            </a:r>
          </a:p>
          <a:p>
            <a:pPr lvl="0"/>
            <a:r>
              <a:rPr lang="de-DE"/>
              <a:t>Sechste Ebene für Highlights</a:t>
            </a:r>
          </a:p>
        </p:txBody>
      </p:sp>
      <p:sp>
        <p:nvSpPr>
          <p:cNvPr id="19" name="Freihandform: Form 18">
            <a:extLst>
              <a:ext uri="{FF2B5EF4-FFF2-40B4-BE49-F238E27FC236}">
                <a16:creationId xmlns:a16="http://schemas.microsoft.com/office/drawing/2014/main" id="{11506FDE-2E24-408A-9A98-EF162BACC1A3}"/>
              </a:ext>
            </a:extLst>
          </p:cNvPr>
          <p:cNvSpPr/>
          <p:nvPr/>
        </p:nvSpPr>
        <p:spPr>
          <a:xfrm flipH="1">
            <a:off x="1498068" y="5376330"/>
            <a:ext cx="10704512" cy="1492250"/>
          </a:xfrm>
          <a:custGeom>
            <a:avLst/>
            <a:gdLst>
              <a:gd name="connsiteX0" fmla="*/ 9783757 w 10704512"/>
              <a:gd name="connsiteY0" fmla="*/ 0 h 1492250"/>
              <a:gd name="connsiteX1" fmla="*/ 0 w 10704512"/>
              <a:gd name="connsiteY1" fmla="*/ 0 h 1492250"/>
              <a:gd name="connsiteX2" fmla="*/ 0 w 10704512"/>
              <a:gd name="connsiteY2" fmla="*/ 1492250 h 1492250"/>
              <a:gd name="connsiteX3" fmla="*/ 10704512 w 10704512"/>
              <a:gd name="connsiteY3" fmla="*/ 1492250 h 1492250"/>
              <a:gd name="connsiteX4" fmla="*/ 10704512 w 10704512"/>
              <a:gd name="connsiteY4" fmla="*/ 920755 h 1492250"/>
              <a:gd name="connsiteX5" fmla="*/ 9783757 w 10704512"/>
              <a:gd name="connsiteY5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704512" h="1492250">
                <a:moveTo>
                  <a:pt x="9783757" y="0"/>
                </a:moveTo>
                <a:lnTo>
                  <a:pt x="0" y="0"/>
                </a:lnTo>
                <a:lnTo>
                  <a:pt x="0" y="1492250"/>
                </a:lnTo>
                <a:lnTo>
                  <a:pt x="10704512" y="1492250"/>
                </a:lnTo>
                <a:lnTo>
                  <a:pt x="10704512" y="920755"/>
                </a:lnTo>
                <a:cubicBezTo>
                  <a:pt x="10704512" y="412236"/>
                  <a:pt x="10292276" y="0"/>
                  <a:pt x="9783757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254916B7-58EF-4F08-A783-46F18118B6C0}"/>
              </a:ext>
            </a:extLst>
          </p:cNvPr>
          <p:cNvGrpSpPr/>
          <p:nvPr/>
        </p:nvGrpSpPr>
        <p:grpSpPr>
          <a:xfrm>
            <a:off x="10990764" y="364362"/>
            <a:ext cx="867864" cy="231551"/>
            <a:chOff x="464743" y="1368699"/>
            <a:chExt cx="2380058" cy="635012"/>
          </a:xfrm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9DF83FF6-AFE6-4555-90DE-0D3C163DA0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7AE21AAB-E07B-47DA-AFD0-DEAA3D275A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A56AB8B5-4588-48C1-9C07-75640E26512E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A71BD18E-6C07-411A-9495-8446904F72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8">
                <a:extLst>
                  <a:ext uri="{FF2B5EF4-FFF2-40B4-BE49-F238E27FC236}">
                    <a16:creationId xmlns:a16="http://schemas.microsoft.com/office/drawing/2014/main" id="{26CCEDD4-2516-4002-A7DC-A59BA62F373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9">
                <a:extLst>
                  <a:ext uri="{FF2B5EF4-FFF2-40B4-BE49-F238E27FC236}">
                    <a16:creationId xmlns:a16="http://schemas.microsoft.com/office/drawing/2014/main" id="{DF3B131D-3C13-42E0-9206-E171CCF5B5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0">
                <a:extLst>
                  <a:ext uri="{FF2B5EF4-FFF2-40B4-BE49-F238E27FC236}">
                    <a16:creationId xmlns:a16="http://schemas.microsoft.com/office/drawing/2014/main" id="{CC1A6517-C355-46B0-AAC1-F23094D15D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1">
                <a:extLst>
                  <a:ext uri="{FF2B5EF4-FFF2-40B4-BE49-F238E27FC236}">
                    <a16:creationId xmlns:a16="http://schemas.microsoft.com/office/drawing/2014/main" id="{2D282B2E-2815-47F9-A08C-655F14185C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2">
                <a:extLst>
                  <a:ext uri="{FF2B5EF4-FFF2-40B4-BE49-F238E27FC236}">
                    <a16:creationId xmlns:a16="http://schemas.microsoft.com/office/drawing/2014/main" id="{8966AAB2-499D-4B16-B74F-A313AB8B943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3">
                <a:extLst>
                  <a:ext uri="{FF2B5EF4-FFF2-40B4-BE49-F238E27FC236}">
                    <a16:creationId xmlns:a16="http://schemas.microsoft.com/office/drawing/2014/main" id="{72DAECD8-27D3-4109-A6A0-3CDDC159E5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4">
                <a:extLst>
                  <a:ext uri="{FF2B5EF4-FFF2-40B4-BE49-F238E27FC236}">
                    <a16:creationId xmlns:a16="http://schemas.microsoft.com/office/drawing/2014/main" id="{34080E8D-32B8-4A2B-9398-55858DAB3A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15">
                <a:extLst>
                  <a:ext uri="{FF2B5EF4-FFF2-40B4-BE49-F238E27FC236}">
                    <a16:creationId xmlns:a16="http://schemas.microsoft.com/office/drawing/2014/main" id="{F492BF34-88EE-4DF9-A3FA-1D74A54071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6">
                <a:extLst>
                  <a:ext uri="{FF2B5EF4-FFF2-40B4-BE49-F238E27FC236}">
                    <a16:creationId xmlns:a16="http://schemas.microsoft.com/office/drawing/2014/main" id="{29342A22-C6BD-4A9B-BA64-C9BB74D818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E39C62E-E45B-4DB0-8BDC-ADF35A7DD17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B8AB933A-FE3A-4114-B9A7-D3CB609C047A}" type="datetime1">
              <a:rPr lang="de-DE" smtClean="0"/>
              <a:t>2022-01-1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2BDBB57-71E2-4418-B351-9C4643F67D8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8D621D8-7D75-456C-87F6-66D9307AC69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91833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folie Vollbil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C9247478-3193-499B-A283-D437B7BC3F3A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3988F174-6036-41F7-9040-E94FB9C3CECC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-1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4287 w 12192000"/>
              <a:gd name="connsiteY1" fmla="*/ 0 h 6858000"/>
              <a:gd name="connsiteX2" fmla="*/ 731500 w 12192000"/>
              <a:gd name="connsiteY2" fmla="*/ 0 h 6858000"/>
              <a:gd name="connsiteX3" fmla="*/ 12192000 w 12192000"/>
              <a:gd name="connsiteY3" fmla="*/ 0 h 6858000"/>
              <a:gd name="connsiteX4" fmla="*/ 12192000 w 12192000"/>
              <a:gd name="connsiteY4" fmla="*/ 6858000 h 6858000"/>
              <a:gd name="connsiteX5" fmla="*/ 6096000 w 12192000"/>
              <a:gd name="connsiteY5" fmla="*/ 6858000 h 6858000"/>
              <a:gd name="connsiteX6" fmla="*/ 6096000 w 12192000"/>
              <a:gd name="connsiteY6" fmla="*/ 1629422 h 6858000"/>
              <a:gd name="connsiteX7" fmla="*/ 5088684 w 12192000"/>
              <a:gd name="connsiteY7" fmla="*/ 622106 h 6858000"/>
              <a:gd name="connsiteX8" fmla="*/ 731500 w 12192000"/>
              <a:gd name="connsiteY8" fmla="*/ 622106 h 6858000"/>
              <a:gd name="connsiteX9" fmla="*/ 14287 w 12192000"/>
              <a:gd name="connsiteY9" fmla="*/ 622106 h 6858000"/>
              <a:gd name="connsiteX10" fmla="*/ 0 w 12192000"/>
              <a:gd name="connsiteY10" fmla="*/ 62210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4287" y="0"/>
                </a:lnTo>
                <a:lnTo>
                  <a:pt x="731500" y="0"/>
                </a:lnTo>
                <a:lnTo>
                  <a:pt x="12192000" y="0"/>
                </a:lnTo>
                <a:lnTo>
                  <a:pt x="12192000" y="6858000"/>
                </a:lnTo>
                <a:lnTo>
                  <a:pt x="6096000" y="6858000"/>
                </a:lnTo>
                <a:lnTo>
                  <a:pt x="6096000" y="1629422"/>
                </a:lnTo>
                <a:cubicBezTo>
                  <a:pt x="6096000" y="1073097"/>
                  <a:pt x="5645009" y="622106"/>
                  <a:pt x="5088684" y="622106"/>
                </a:cubicBezTo>
                <a:lnTo>
                  <a:pt x="731500" y="622106"/>
                </a:lnTo>
                <a:lnTo>
                  <a:pt x="14287" y="622106"/>
                </a:lnTo>
                <a:lnTo>
                  <a:pt x="0" y="622106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lIns="1800000" tIns="0" bIns="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1592263"/>
            <a:ext cx="3455987" cy="1223962"/>
          </a:xfrm>
        </p:spPr>
        <p:txBody>
          <a:bodyPr anchor="t"/>
          <a:lstStyle>
            <a:lvl1pPr>
              <a:defRPr sz="5400"/>
            </a:lvl1pPr>
            <a:lvl2pPr>
              <a:defRPr sz="5400"/>
            </a:lvl2pPr>
            <a:lvl3pPr>
              <a:defRPr sz="5400"/>
            </a:lvl3pPr>
            <a:lvl4pPr>
              <a:defRPr sz="5400"/>
            </a:lvl4pPr>
            <a:lvl5pPr>
              <a:defRPr sz="5400"/>
            </a:lvl5pPr>
            <a:lvl6pPr>
              <a:defRPr sz="5400"/>
            </a:lvl6pPr>
            <a:lvl7pPr>
              <a:defRPr sz="5400"/>
            </a:lvl7pPr>
            <a:lvl8pPr>
              <a:defRPr sz="5400"/>
            </a:lvl8pPr>
            <a:lvl9pPr>
              <a:defRPr sz="5400"/>
            </a:lvl9pPr>
          </a:lstStyle>
          <a:p>
            <a:pPr lvl="0"/>
            <a:r>
              <a:rPr lang="de-DE"/>
              <a:t>Agenda</a:t>
            </a:r>
          </a:p>
        </p:txBody>
      </p:sp>
      <p:sp>
        <p:nvSpPr>
          <p:cNvPr id="8" name="Textplatzhalter 9">
            <a:extLst>
              <a:ext uri="{FF2B5EF4-FFF2-40B4-BE49-F238E27FC236}">
                <a16:creationId xmlns:a16="http://schemas.microsoft.com/office/drawing/2014/main" id="{85F76B8B-1FC5-4521-AD1F-6A3F92AE390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487488" y="2816225"/>
            <a:ext cx="3455987" cy="3673475"/>
          </a:xfrm>
        </p:spPr>
        <p:txBody>
          <a:bodyPr/>
          <a:lstStyle>
            <a:lvl1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Ers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Zwei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Drit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Vier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Fünfte Ebene für Aufzählungen</a:t>
            </a:r>
          </a:p>
          <a:p>
            <a:pPr lvl="0"/>
            <a:r>
              <a:rPr lang="de-DE"/>
              <a:t>Sechste Ebene für Highlights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C54598E-FC50-496C-9931-8DA549B04D5D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1160919" y="7101333"/>
            <a:ext cx="457993" cy="101671"/>
          </a:xfrm>
        </p:spPr>
        <p:txBody>
          <a:bodyPr/>
          <a:lstStyle/>
          <a:p>
            <a:pPr algn="r"/>
            <a:fld id="{7F8A441E-2E1E-411F-A27E-4F8F09E53D83}" type="datetime1">
              <a:rPr lang="de-DE" smtClean="0"/>
              <a:t>2022-01-1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F3E8894-DCFC-4586-95EE-4E7F5B69739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8401051" y="7101333"/>
            <a:ext cx="2522534" cy="101671"/>
          </a:xfrm>
        </p:spPr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A36E9F1-F3BA-4241-A2AA-E1B75550C16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725538" y="7101333"/>
            <a:ext cx="191824" cy="101671"/>
          </a:xfrm>
        </p:spPr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4" name="Textplatzhalter 117">
            <a:extLst>
              <a:ext uri="{FF2B5EF4-FFF2-40B4-BE49-F238E27FC236}">
                <a16:creationId xmlns:a16="http://schemas.microsoft.com/office/drawing/2014/main" id="{27728EDC-9F95-41EC-A4B7-522A95BE7C0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10158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2 Handy Mock Up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F693E912-CA16-42BD-9B13-E1115EE96111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889F97A2-ABF2-4D64-AA66-7883CE332E97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6" name="Oval 5">
              <a:extLst>
                <a:ext uri="{FF2B5EF4-FFF2-40B4-BE49-F238E27FC236}">
                  <a16:creationId xmlns:a16="http://schemas.microsoft.com/office/drawing/2014/main" id="{66F7C95D-74B4-4F5C-BBA7-91A1AB90BE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3D9B1101-3E32-4271-B4DC-D4062FF254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8" name="Gruppieren 27">
              <a:extLst>
                <a:ext uri="{FF2B5EF4-FFF2-40B4-BE49-F238E27FC236}">
                  <a16:creationId xmlns:a16="http://schemas.microsoft.com/office/drawing/2014/main" id="{9829AB22-8D52-461F-B440-26A77B86CB0D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29" name="Freeform 7">
                <a:extLst>
                  <a:ext uri="{FF2B5EF4-FFF2-40B4-BE49-F238E27FC236}">
                    <a16:creationId xmlns:a16="http://schemas.microsoft.com/office/drawing/2014/main" id="{4CF857CC-2901-4F42-9233-853B5D63AE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8">
                <a:extLst>
                  <a:ext uri="{FF2B5EF4-FFF2-40B4-BE49-F238E27FC236}">
                    <a16:creationId xmlns:a16="http://schemas.microsoft.com/office/drawing/2014/main" id="{11FE3F05-9217-42BC-80A9-AAC7E6E849E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9">
                <a:extLst>
                  <a:ext uri="{FF2B5EF4-FFF2-40B4-BE49-F238E27FC236}">
                    <a16:creationId xmlns:a16="http://schemas.microsoft.com/office/drawing/2014/main" id="{16B3B9FE-F133-438D-AD84-EC51942391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0">
                <a:extLst>
                  <a:ext uri="{FF2B5EF4-FFF2-40B4-BE49-F238E27FC236}">
                    <a16:creationId xmlns:a16="http://schemas.microsoft.com/office/drawing/2014/main" id="{8FBD55AD-9814-4F26-B91E-D2C4B92999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1">
                <a:extLst>
                  <a:ext uri="{FF2B5EF4-FFF2-40B4-BE49-F238E27FC236}">
                    <a16:creationId xmlns:a16="http://schemas.microsoft.com/office/drawing/2014/main" id="{C30F0D69-4CC1-4454-B748-72DFF851EB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2">
                <a:extLst>
                  <a:ext uri="{FF2B5EF4-FFF2-40B4-BE49-F238E27FC236}">
                    <a16:creationId xmlns:a16="http://schemas.microsoft.com/office/drawing/2014/main" id="{0AAA4B98-3BAE-4F2F-872C-6C32595267F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3">
                <a:extLst>
                  <a:ext uri="{FF2B5EF4-FFF2-40B4-BE49-F238E27FC236}">
                    <a16:creationId xmlns:a16="http://schemas.microsoft.com/office/drawing/2014/main" id="{F07DF6E7-F0CD-4ED2-87FD-6841CDC592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4">
                <a:extLst>
                  <a:ext uri="{FF2B5EF4-FFF2-40B4-BE49-F238E27FC236}">
                    <a16:creationId xmlns:a16="http://schemas.microsoft.com/office/drawing/2014/main" id="{9A456FC8-BDB6-4546-ABF9-E769BDB6F0F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5">
                <a:extLst>
                  <a:ext uri="{FF2B5EF4-FFF2-40B4-BE49-F238E27FC236}">
                    <a16:creationId xmlns:a16="http://schemas.microsoft.com/office/drawing/2014/main" id="{6C563657-972E-403C-94BC-040D3D7BAB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6">
                <a:extLst>
                  <a:ext uri="{FF2B5EF4-FFF2-40B4-BE49-F238E27FC236}">
                    <a16:creationId xmlns:a16="http://schemas.microsoft.com/office/drawing/2014/main" id="{BAFE9A3D-A61B-4444-B4F4-796B96D8ED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4" y="1592263"/>
            <a:ext cx="3672850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2EF9841-421F-4152-880D-BBF3BBD10B58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598E213F-831B-4DD5-B124-E2FC4C539318}" type="datetime1">
              <a:rPr lang="de-DE" smtClean="0"/>
              <a:t>2022-01-13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A86F7D5-69CA-4283-8022-108E607FC8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0EDD423B-497D-4CCF-A170-87E1DA4963E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C2346866-6A4B-4F6D-B6A3-C5F9E9CC4A34}"/>
              </a:ext>
            </a:extLst>
          </p:cNvPr>
          <p:cNvSpPr/>
          <p:nvPr/>
        </p:nvSpPr>
        <p:spPr>
          <a:xfrm>
            <a:off x="4799975" y="1873261"/>
            <a:ext cx="1451388" cy="3038279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pic>
        <p:nvPicPr>
          <p:cNvPr id="15" name="Grafik 14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A2ECC125-1D19-463D-901C-78124C185B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18932" y="1592263"/>
            <a:ext cx="2562657" cy="3970337"/>
          </a:xfrm>
          <a:prstGeom prst="rect">
            <a:avLst/>
          </a:prstGeom>
        </p:spPr>
      </p:pic>
      <p:sp>
        <p:nvSpPr>
          <p:cNvPr id="18" name="Rechteck: abgerundete Ecken 17">
            <a:extLst>
              <a:ext uri="{FF2B5EF4-FFF2-40B4-BE49-F238E27FC236}">
                <a16:creationId xmlns:a16="http://schemas.microsoft.com/office/drawing/2014/main" id="{8068B0AF-45C9-4587-80AA-5FB0C48136E6}"/>
              </a:ext>
            </a:extLst>
          </p:cNvPr>
          <p:cNvSpPr/>
          <p:nvPr/>
        </p:nvSpPr>
        <p:spPr>
          <a:xfrm>
            <a:off x="8253833" y="1873261"/>
            <a:ext cx="1451388" cy="3038279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pic>
        <p:nvPicPr>
          <p:cNvPr id="19" name="Grafik 1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4EA724CD-CCCA-40EB-9BBF-7E7FF8A98E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72790" y="1592263"/>
            <a:ext cx="2562657" cy="3970337"/>
          </a:xfrm>
          <a:prstGeom prst="rect">
            <a:avLst/>
          </a:prstGeom>
        </p:spPr>
      </p:pic>
      <p:sp>
        <p:nvSpPr>
          <p:cNvPr id="35" name="Bildplatzhalter 47">
            <a:extLst>
              <a:ext uri="{FF2B5EF4-FFF2-40B4-BE49-F238E27FC236}">
                <a16:creationId xmlns:a16="http://schemas.microsoft.com/office/drawing/2014/main" id="{491BA93E-E5F3-48AC-A3BA-B7D4CD7DBEC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5037658" y="1685897"/>
            <a:ext cx="1414752" cy="3055001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37" name="Bildplatzhalter 47">
            <a:extLst>
              <a:ext uri="{FF2B5EF4-FFF2-40B4-BE49-F238E27FC236}">
                <a16:creationId xmlns:a16="http://schemas.microsoft.com/office/drawing/2014/main" id="{574E156E-CBCD-45CF-AAC9-84D35B20AAC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8491516" y="1685897"/>
            <a:ext cx="1414752" cy="3055001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38" name="Textplatzhalter 5">
            <a:extLst>
              <a:ext uri="{FF2B5EF4-FFF2-40B4-BE49-F238E27FC236}">
                <a16:creationId xmlns:a16="http://schemas.microsoft.com/office/drawing/2014/main" id="{C0A94FD5-C278-4C7F-A805-75DA9B93B8F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943474" y="5149895"/>
            <a:ext cx="2228035" cy="412706"/>
          </a:xfrm>
        </p:spPr>
        <p:txBody>
          <a:bodyPr anchor="t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1</a:t>
            </a:r>
          </a:p>
        </p:txBody>
      </p:sp>
      <p:sp>
        <p:nvSpPr>
          <p:cNvPr id="20" name="Textplatzhalter 5">
            <a:extLst>
              <a:ext uri="{FF2B5EF4-FFF2-40B4-BE49-F238E27FC236}">
                <a16:creationId xmlns:a16="http://schemas.microsoft.com/office/drawing/2014/main" id="{5676D185-2C51-4F27-B9D6-5A1E42D749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01051" y="5149895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2</a:t>
            </a:r>
          </a:p>
        </p:txBody>
      </p:sp>
      <p:sp>
        <p:nvSpPr>
          <p:cNvPr id="21" name="Textplatzhalter 28">
            <a:extLst>
              <a:ext uri="{FF2B5EF4-FFF2-40B4-BE49-F238E27FC236}">
                <a16:creationId xmlns:a16="http://schemas.microsoft.com/office/drawing/2014/main" id="{43C8CC5A-2B84-4101-830B-BCD94185DE4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43474" y="5562601"/>
            <a:ext cx="2665414" cy="802240"/>
          </a:xfrm>
        </p:spPr>
        <p:txBody>
          <a:bodyPr anchor="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2" name="Textplatzhalter 28">
            <a:extLst>
              <a:ext uri="{FF2B5EF4-FFF2-40B4-BE49-F238E27FC236}">
                <a16:creationId xmlns:a16="http://schemas.microsoft.com/office/drawing/2014/main" id="{C3041C11-8D41-447B-B837-FF9F7E94DC8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01051" y="5562601"/>
            <a:ext cx="2665414" cy="802240"/>
          </a:xfrm>
        </p:spPr>
        <p:txBody>
          <a:bodyPr anchor="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42" name="Untertitel 2">
            <a:extLst>
              <a:ext uri="{FF2B5EF4-FFF2-40B4-BE49-F238E27FC236}">
                <a16:creationId xmlns:a16="http://schemas.microsoft.com/office/drawing/2014/main" id="{E7B4D499-D0D5-4F6E-B6DA-418C7C0AD63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3058786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apitel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ihandform: Form 13">
            <a:extLst>
              <a:ext uri="{FF2B5EF4-FFF2-40B4-BE49-F238E27FC236}">
                <a16:creationId xmlns:a16="http://schemas.microsoft.com/office/drawing/2014/main" id="{072AF896-135A-4A96-A537-178BCF5D84F6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0704513 w 12192000"/>
              <a:gd name="connsiteY3" fmla="*/ 6858000 h 6858000"/>
              <a:gd name="connsiteX4" fmla="*/ 10704513 w 12192000"/>
              <a:gd name="connsiteY4" fmla="*/ 2789980 h 6858000"/>
              <a:gd name="connsiteX5" fmla="*/ 9735713 w 12192000"/>
              <a:gd name="connsiteY5" fmla="*/ 1821180 h 6858000"/>
              <a:gd name="connsiteX6" fmla="*/ 0 w 12192000"/>
              <a:gd name="connsiteY6" fmla="*/ 182118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0704513" y="6858000"/>
                </a:lnTo>
                <a:lnTo>
                  <a:pt x="10704513" y="2789980"/>
                </a:lnTo>
                <a:cubicBezTo>
                  <a:pt x="10704513" y="2254927"/>
                  <a:pt x="10270766" y="1821180"/>
                  <a:pt x="9735713" y="1821180"/>
                </a:cubicBezTo>
                <a:lnTo>
                  <a:pt x="0" y="182118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FB9B356D-077B-4EA8-8CD9-172297E20735}"/>
              </a:ext>
            </a:extLst>
          </p:cNvPr>
          <p:cNvSpPr/>
          <p:nvPr/>
        </p:nvSpPr>
        <p:spPr>
          <a:xfrm>
            <a:off x="-10580" y="1603901"/>
            <a:ext cx="10892824" cy="5265737"/>
          </a:xfrm>
          <a:custGeom>
            <a:avLst/>
            <a:gdLst>
              <a:gd name="connsiteX0" fmla="*/ 0 w 10892824"/>
              <a:gd name="connsiteY0" fmla="*/ 0 h 5265737"/>
              <a:gd name="connsiteX1" fmla="*/ 9854153 w 10892824"/>
              <a:gd name="connsiteY1" fmla="*/ 0 h 5265737"/>
              <a:gd name="connsiteX2" fmla="*/ 10892824 w 10892824"/>
              <a:gd name="connsiteY2" fmla="*/ 1038671 h 5265737"/>
              <a:gd name="connsiteX3" fmla="*/ 10892824 w 10892824"/>
              <a:gd name="connsiteY3" fmla="*/ 5265737 h 5265737"/>
              <a:gd name="connsiteX4" fmla="*/ 0 w 10892824"/>
              <a:gd name="connsiteY4" fmla="*/ 5265737 h 5265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892824" h="5265737">
                <a:moveTo>
                  <a:pt x="0" y="0"/>
                </a:moveTo>
                <a:lnTo>
                  <a:pt x="9854153" y="0"/>
                </a:lnTo>
                <a:cubicBezTo>
                  <a:pt x="10427795" y="0"/>
                  <a:pt x="10892824" y="465029"/>
                  <a:pt x="10892824" y="1038671"/>
                </a:cubicBezTo>
                <a:lnTo>
                  <a:pt x="10892824" y="5265737"/>
                </a:lnTo>
                <a:lnTo>
                  <a:pt x="0" y="5265737"/>
                </a:ln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CF693C21-4507-4F3E-81F3-C5129BC124FB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0" name="Oval 5">
              <a:extLst>
                <a:ext uri="{FF2B5EF4-FFF2-40B4-BE49-F238E27FC236}">
                  <a16:creationId xmlns:a16="http://schemas.microsoft.com/office/drawing/2014/main" id="{9C338AFF-E703-4949-85EC-CB4644EB8B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id="{252C4243-738B-4049-BDED-CD4B6AA6E6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2" name="Gruppieren 21">
              <a:extLst>
                <a:ext uri="{FF2B5EF4-FFF2-40B4-BE49-F238E27FC236}">
                  <a16:creationId xmlns:a16="http://schemas.microsoft.com/office/drawing/2014/main" id="{5CF87B07-4289-49FF-9D93-5E50076EA829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23" name="Freeform 7">
                <a:extLst>
                  <a:ext uri="{FF2B5EF4-FFF2-40B4-BE49-F238E27FC236}">
                    <a16:creationId xmlns:a16="http://schemas.microsoft.com/office/drawing/2014/main" id="{0B6C66D2-26E8-4D8C-B008-A5821EDA65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8">
                <a:extLst>
                  <a:ext uri="{FF2B5EF4-FFF2-40B4-BE49-F238E27FC236}">
                    <a16:creationId xmlns:a16="http://schemas.microsoft.com/office/drawing/2014/main" id="{2E3DC62B-3FCB-4F68-BE4D-EE46C674CF4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9">
                <a:extLst>
                  <a:ext uri="{FF2B5EF4-FFF2-40B4-BE49-F238E27FC236}">
                    <a16:creationId xmlns:a16="http://schemas.microsoft.com/office/drawing/2014/main" id="{051A77AC-8B30-43FC-8D49-FE6CFBBF28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0">
                <a:extLst>
                  <a:ext uri="{FF2B5EF4-FFF2-40B4-BE49-F238E27FC236}">
                    <a16:creationId xmlns:a16="http://schemas.microsoft.com/office/drawing/2014/main" id="{36558BEF-9E49-44A2-91FA-86FF532E46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1">
                <a:extLst>
                  <a:ext uri="{FF2B5EF4-FFF2-40B4-BE49-F238E27FC236}">
                    <a16:creationId xmlns:a16="http://schemas.microsoft.com/office/drawing/2014/main" id="{8E243C08-9029-4757-B58F-2B10ED5ED7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2">
                <a:extLst>
                  <a:ext uri="{FF2B5EF4-FFF2-40B4-BE49-F238E27FC236}">
                    <a16:creationId xmlns:a16="http://schemas.microsoft.com/office/drawing/2014/main" id="{551DA8B8-ABFE-424A-915B-1F8F10DC4C8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3">
                <a:extLst>
                  <a:ext uri="{FF2B5EF4-FFF2-40B4-BE49-F238E27FC236}">
                    <a16:creationId xmlns:a16="http://schemas.microsoft.com/office/drawing/2014/main" id="{BE56415D-81F1-4E23-80F6-F742A96E6B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4">
                <a:extLst>
                  <a:ext uri="{FF2B5EF4-FFF2-40B4-BE49-F238E27FC236}">
                    <a16:creationId xmlns:a16="http://schemas.microsoft.com/office/drawing/2014/main" id="{0F7D23C0-88E4-43F4-AF63-A90A4D971A9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5">
                <a:extLst>
                  <a:ext uri="{FF2B5EF4-FFF2-40B4-BE49-F238E27FC236}">
                    <a16:creationId xmlns:a16="http://schemas.microsoft.com/office/drawing/2014/main" id="{8104E26D-3B4A-471C-811A-D9D06E67E7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16">
                <a:extLst>
                  <a:ext uri="{FF2B5EF4-FFF2-40B4-BE49-F238E27FC236}">
                    <a16:creationId xmlns:a16="http://schemas.microsoft.com/office/drawing/2014/main" id="{CB8C91E4-CA6C-4E38-B0E9-648EC3A011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EDF9A70-399E-4529-A7DB-A038CFBA646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160919" y="7025133"/>
            <a:ext cx="457993" cy="101671"/>
          </a:xfrm>
        </p:spPr>
        <p:txBody>
          <a:bodyPr/>
          <a:lstStyle/>
          <a:p>
            <a:pPr algn="r"/>
            <a:fld id="{EA3625AF-22BD-4599-9178-8C62AD853F68}" type="datetime1">
              <a:rPr lang="de-DE" smtClean="0"/>
              <a:t>2022-01-1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34C1970-862A-40A2-A410-8A18C19CA5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401051" y="7025133"/>
            <a:ext cx="2522534" cy="101671"/>
          </a:xfrm>
        </p:spPr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F3A8B34-701D-49AF-8DAE-5BB05BEE9C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25538" y="7025133"/>
            <a:ext cx="191824" cy="101671"/>
          </a:xfrm>
        </p:spPr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BC69060B-162B-4C5C-A91D-870BEA45C8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7" y="3429000"/>
            <a:ext cx="6121401" cy="1836738"/>
          </a:xfr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  <a:lvl2pPr>
              <a:defRPr sz="4000">
                <a:solidFill>
                  <a:schemeClr val="bg1"/>
                </a:solidFill>
              </a:defRPr>
            </a:lvl2pPr>
            <a:lvl3pPr>
              <a:defRPr sz="4000">
                <a:solidFill>
                  <a:schemeClr val="bg1"/>
                </a:solidFill>
              </a:defRPr>
            </a:lvl3pPr>
            <a:lvl4pPr>
              <a:defRPr sz="4000">
                <a:solidFill>
                  <a:schemeClr val="bg1"/>
                </a:solidFill>
              </a:defRPr>
            </a:lvl4pPr>
            <a:lvl5pPr>
              <a:defRPr sz="4000">
                <a:solidFill>
                  <a:schemeClr val="bg1"/>
                </a:solidFill>
              </a:defRPr>
            </a:lvl5pPr>
            <a:lvl6pPr>
              <a:defRPr sz="4000">
                <a:solidFill>
                  <a:schemeClr val="bg1"/>
                </a:solidFill>
              </a:defRPr>
            </a:lvl6pPr>
            <a:lvl7pPr>
              <a:defRPr sz="4000">
                <a:solidFill>
                  <a:schemeClr val="bg1"/>
                </a:solidFill>
              </a:defRPr>
            </a:lvl7pPr>
            <a:lvl8pPr>
              <a:defRPr sz="4000">
                <a:solidFill>
                  <a:schemeClr val="bg1"/>
                </a:solidFill>
              </a:defRPr>
            </a:lvl8pPr>
            <a:lvl9pPr>
              <a:defRPr sz="40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itel für das nächste Kapitel bitte hier einfügen</a:t>
            </a:r>
          </a:p>
        </p:txBody>
      </p:sp>
      <p:sp>
        <p:nvSpPr>
          <p:cNvPr id="28" name="Untertitel 2">
            <a:extLst>
              <a:ext uri="{FF2B5EF4-FFF2-40B4-BE49-F238E27FC236}">
                <a16:creationId xmlns:a16="http://schemas.microsoft.com/office/drawing/2014/main" id="{0BF02A1A-5FD3-421F-9323-46435A7BCD7F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1487487" y="5265738"/>
            <a:ext cx="6121401" cy="1225995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solidFill>
                  <a:schemeClr val="bg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5pPr>
            <a:lvl6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6pPr>
            <a:lvl7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7pPr>
            <a:lvl8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8pPr>
            <a:lvl9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39280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apitelfolie Bil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D19BAEC9-FD66-4F21-8513-21AE499E07F3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A9CBC99B-E8C6-4051-A9E9-0C624C40229F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11" name="Oval 5">
              <a:extLst>
                <a:ext uri="{FF2B5EF4-FFF2-40B4-BE49-F238E27FC236}">
                  <a16:creationId xmlns:a16="http://schemas.microsoft.com/office/drawing/2014/main" id="{DED38C07-9A75-471C-B61E-C6B17EDCE2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EBAC15C1-136D-42F8-A7B6-CB480B5AA0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3" name="Gruppieren 12">
              <a:extLst>
                <a:ext uri="{FF2B5EF4-FFF2-40B4-BE49-F238E27FC236}">
                  <a16:creationId xmlns:a16="http://schemas.microsoft.com/office/drawing/2014/main" id="{45361738-16C3-40AC-A788-EA9036EDBAFB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14" name="Freeform 7">
                <a:extLst>
                  <a:ext uri="{FF2B5EF4-FFF2-40B4-BE49-F238E27FC236}">
                    <a16:creationId xmlns:a16="http://schemas.microsoft.com/office/drawing/2014/main" id="{0C5DC918-EA52-4FC3-8A01-3388FE6CFA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5" name="Freeform 8">
                <a:extLst>
                  <a:ext uri="{FF2B5EF4-FFF2-40B4-BE49-F238E27FC236}">
                    <a16:creationId xmlns:a16="http://schemas.microsoft.com/office/drawing/2014/main" id="{ABB1E81B-393E-4C03-A0F0-5DA085524AB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6" name="Freeform 9">
                <a:extLst>
                  <a:ext uri="{FF2B5EF4-FFF2-40B4-BE49-F238E27FC236}">
                    <a16:creationId xmlns:a16="http://schemas.microsoft.com/office/drawing/2014/main" id="{7334091F-5E16-47D4-8265-3B46094438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10">
                <a:extLst>
                  <a:ext uri="{FF2B5EF4-FFF2-40B4-BE49-F238E27FC236}">
                    <a16:creationId xmlns:a16="http://schemas.microsoft.com/office/drawing/2014/main" id="{9FF719ED-D4C1-4360-BAB4-26734998B7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11">
                <a:extLst>
                  <a:ext uri="{FF2B5EF4-FFF2-40B4-BE49-F238E27FC236}">
                    <a16:creationId xmlns:a16="http://schemas.microsoft.com/office/drawing/2014/main" id="{B50B74DF-1EDF-4E89-A0F2-3DE62F5024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2">
                <a:extLst>
                  <a:ext uri="{FF2B5EF4-FFF2-40B4-BE49-F238E27FC236}">
                    <a16:creationId xmlns:a16="http://schemas.microsoft.com/office/drawing/2014/main" id="{B5C0C5D5-9E4D-47B8-811F-7E74CC67DAF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3">
                <a:extLst>
                  <a:ext uri="{FF2B5EF4-FFF2-40B4-BE49-F238E27FC236}">
                    <a16:creationId xmlns:a16="http://schemas.microsoft.com/office/drawing/2014/main" id="{D86D4DD4-8682-4840-A450-295468F320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4">
                <a:extLst>
                  <a:ext uri="{FF2B5EF4-FFF2-40B4-BE49-F238E27FC236}">
                    <a16:creationId xmlns:a16="http://schemas.microsoft.com/office/drawing/2014/main" id="{0DDC3BB0-F3F9-4D74-A613-68E6E9CAF43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5">
                <a:extLst>
                  <a:ext uri="{FF2B5EF4-FFF2-40B4-BE49-F238E27FC236}">
                    <a16:creationId xmlns:a16="http://schemas.microsoft.com/office/drawing/2014/main" id="{529D01BE-1D12-43D9-9580-7DD60A4ABC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6">
                <a:extLst>
                  <a:ext uri="{FF2B5EF4-FFF2-40B4-BE49-F238E27FC236}">
                    <a16:creationId xmlns:a16="http://schemas.microsoft.com/office/drawing/2014/main" id="{C99B43FC-7A0B-486C-995F-A1615F010F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" name="Untertitel 2">
            <a:extLst>
              <a:ext uri="{FF2B5EF4-FFF2-40B4-BE49-F238E27FC236}">
                <a16:creationId xmlns:a16="http://schemas.microsoft.com/office/drawing/2014/main" id="{3B2F4070-1FD5-4AA5-814E-B037EDDBD63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7248524" y="3428999"/>
            <a:ext cx="3455989" cy="1836738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latin typeface="+mj-lt"/>
              </a:defRPr>
            </a:lvl5pPr>
            <a:lvl6pPr marL="0" indent="0" algn="l">
              <a:buNone/>
              <a:defRPr sz="1600">
                <a:latin typeface="+mj-lt"/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1600">
                <a:latin typeface="+mj-lt"/>
              </a:defRPr>
            </a:lvl8pPr>
            <a:lvl9pPr marL="0" indent="0" algn="l">
              <a:buNone/>
              <a:defRPr sz="1600"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48524" y="1592263"/>
            <a:ext cx="3455989" cy="1836736"/>
          </a:xfrm>
        </p:spPr>
        <p:txBody>
          <a:bodyPr anchor="t"/>
          <a:lstStyle>
            <a:lvl1pPr>
              <a:defRPr sz="4000"/>
            </a:lvl1pPr>
            <a:lvl2pPr>
              <a:defRPr sz="4000"/>
            </a:lvl2pPr>
            <a:lvl3pPr>
              <a:defRPr sz="4000"/>
            </a:lvl3pPr>
            <a:lvl4pPr>
              <a:defRPr sz="4000"/>
            </a:lvl4pPr>
            <a:lvl5pPr>
              <a:defRPr sz="4000"/>
            </a:lvl5pPr>
            <a:lvl6pPr>
              <a:defRPr sz="4000"/>
            </a:lvl6pPr>
            <a:lvl7pPr>
              <a:defRPr sz="4000"/>
            </a:lvl7pPr>
            <a:lvl8pPr>
              <a:defRPr sz="4000"/>
            </a:lvl8pPr>
            <a:lvl9pPr>
              <a:defRPr sz="4000"/>
            </a:lvl9pPr>
          </a:lstStyle>
          <a:p>
            <a:pPr lvl="0"/>
            <a:r>
              <a:rPr lang="de-DE"/>
              <a:t>Kapitel- </a:t>
            </a:r>
            <a:r>
              <a:rPr lang="de-DE" err="1"/>
              <a:t>überschrift</a:t>
            </a:r>
            <a:endParaRPr lang="de-DE"/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9782B2D3-3015-47F5-901D-035A84A3802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6096000" cy="6223000"/>
          </a:xfrm>
          <a:custGeom>
            <a:avLst/>
            <a:gdLst>
              <a:gd name="connsiteX0" fmla="*/ 0 w 6096000"/>
              <a:gd name="connsiteY0" fmla="*/ 0 h 6223000"/>
              <a:gd name="connsiteX1" fmla="*/ 6096000 w 6096000"/>
              <a:gd name="connsiteY1" fmla="*/ 0 h 6223000"/>
              <a:gd name="connsiteX2" fmla="*/ 6096000 w 6096000"/>
              <a:gd name="connsiteY2" fmla="*/ 5356758 h 6223000"/>
              <a:gd name="connsiteX3" fmla="*/ 5229758 w 6096000"/>
              <a:gd name="connsiteY3" fmla="*/ 6223000 h 6223000"/>
              <a:gd name="connsiteX4" fmla="*/ 0 w 6096000"/>
              <a:gd name="connsiteY4" fmla="*/ 6223000 h 622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223000">
                <a:moveTo>
                  <a:pt x="0" y="0"/>
                </a:moveTo>
                <a:lnTo>
                  <a:pt x="6096000" y="0"/>
                </a:lnTo>
                <a:lnTo>
                  <a:pt x="6096000" y="5356758"/>
                </a:lnTo>
                <a:cubicBezTo>
                  <a:pt x="6096000" y="5835170"/>
                  <a:pt x="5708170" y="6223000"/>
                  <a:pt x="5229758" y="6223000"/>
                </a:cubicBezTo>
                <a:lnTo>
                  <a:pt x="0" y="6223000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470B864-D8FD-472B-9A86-77DCF86B9E6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/>
            <a:fld id="{0E749CF1-EE66-406C-BEA9-96289BAE848A}" type="datetime1">
              <a:rPr lang="de-DE" smtClean="0"/>
              <a:t>2022-01-1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C28D540-C8DE-4034-A254-7BB58C165E0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F89D174-75D8-4071-AA9C-8B2BD14EC03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80903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Zitatfolie Vollbild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13E9D82D-5D08-4FC1-95C5-CD90A0D9356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6B8D83B-3D98-4471-AF20-0C67F30100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2816224"/>
            <a:ext cx="8064500" cy="1841501"/>
          </a:xfr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/>
              <a:t>Zitat </a:t>
            </a:r>
            <a:br>
              <a:rPr lang="de-DE"/>
            </a:br>
            <a:r>
              <a:rPr lang="de-DE"/>
              <a:t>einfüg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4AD187A-8A99-4D06-B785-2C21A941A8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87488" y="4657725"/>
            <a:ext cx="3095625" cy="608013"/>
          </a:xfrm>
        </p:spPr>
        <p:txBody>
          <a:bodyPr anchor="t"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/>
              <a:t>Autor Name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88AA59F2-37D4-43F8-B192-3887B7508CA5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1160919" y="7009500"/>
            <a:ext cx="457993" cy="101671"/>
          </a:xfrm>
        </p:spPr>
        <p:txBody>
          <a:bodyPr/>
          <a:lstStyle/>
          <a:p>
            <a:pPr algn="r"/>
            <a:fld id="{777A36E0-AB51-4E13-A64F-9EC1DBEC3C98}" type="datetime1">
              <a:rPr lang="de-DE" smtClean="0"/>
              <a:t>2022-01-13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1EEDA36-86DF-4B36-9DC1-5C5F714BDF4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8401051" y="7009500"/>
            <a:ext cx="2522534" cy="101671"/>
          </a:xfrm>
        </p:spPr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8E83B89D-AEFA-4D2D-8474-085DB9B1468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725538" y="7009500"/>
            <a:ext cx="191824" cy="101671"/>
          </a:xfrm>
        </p:spPr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0" name="Textplatzhalter 117">
            <a:extLst>
              <a:ext uri="{FF2B5EF4-FFF2-40B4-BE49-F238E27FC236}">
                <a16:creationId xmlns:a16="http://schemas.microsoft.com/office/drawing/2014/main" id="{BE357662-367D-4A40-9798-9F75D1A3578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17038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BAD125F8-A201-4843-B9C3-EE473EBCF28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191995 w 12192000"/>
              <a:gd name="connsiteY3" fmla="*/ 6858000 h 6858000"/>
              <a:gd name="connsiteX4" fmla="*/ 12191995 w 12192000"/>
              <a:gd name="connsiteY4" fmla="*/ 6248399 h 6858000"/>
              <a:gd name="connsiteX5" fmla="*/ 1319758 w 12192000"/>
              <a:gd name="connsiteY5" fmla="*/ 6248399 h 6858000"/>
              <a:gd name="connsiteX6" fmla="*/ 418902 w 12192000"/>
              <a:gd name="connsiteY6" fmla="*/ 6727381 h 6858000"/>
              <a:gd name="connsiteX7" fmla="*/ 348004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91995" y="6858000"/>
                </a:lnTo>
                <a:lnTo>
                  <a:pt x="12191995" y="6248399"/>
                </a:lnTo>
                <a:lnTo>
                  <a:pt x="1319758" y="6248399"/>
                </a:lnTo>
                <a:cubicBezTo>
                  <a:pt x="944758" y="6248399"/>
                  <a:pt x="614135" y="6438398"/>
                  <a:pt x="418902" y="6727381"/>
                </a:cubicBezTo>
                <a:lnTo>
                  <a:pt x="34800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2" cy="367347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0" name="Untertitel 2">
            <a:extLst>
              <a:ext uri="{FF2B5EF4-FFF2-40B4-BE49-F238E27FC236}">
                <a16:creationId xmlns:a16="http://schemas.microsoft.com/office/drawing/2014/main" id="{824B22F2-4CA8-4D6F-A1C0-EA80845E57F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130E97F4-C217-4BA2-8F72-C0A2F1385488}"/>
              </a:ext>
            </a:extLst>
          </p:cNvPr>
          <p:cNvSpPr/>
          <p:nvPr/>
        </p:nvSpPr>
        <p:spPr>
          <a:xfrm flipH="1">
            <a:off x="544131" y="6112552"/>
            <a:ext cx="11658443" cy="756028"/>
          </a:xfrm>
          <a:custGeom>
            <a:avLst/>
            <a:gdLst>
              <a:gd name="connsiteX0" fmla="*/ 10720524 w 11658443"/>
              <a:gd name="connsiteY0" fmla="*/ 0 h 756028"/>
              <a:gd name="connsiteX1" fmla="*/ 0 w 11658443"/>
              <a:gd name="connsiteY1" fmla="*/ 0 h 756028"/>
              <a:gd name="connsiteX2" fmla="*/ 0 w 11658443"/>
              <a:gd name="connsiteY2" fmla="*/ 756028 h 756028"/>
              <a:gd name="connsiteX3" fmla="*/ 11658443 w 11658443"/>
              <a:gd name="connsiteY3" fmla="*/ 756028 h 756028"/>
              <a:gd name="connsiteX4" fmla="*/ 11605940 w 11658443"/>
              <a:gd name="connsiteY4" fmla="*/ 586893 h 756028"/>
              <a:gd name="connsiteX5" fmla="*/ 10720524 w 11658443"/>
              <a:gd name="connsiteY5" fmla="*/ 0 h 756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658443" h="756028">
                <a:moveTo>
                  <a:pt x="10720524" y="0"/>
                </a:moveTo>
                <a:lnTo>
                  <a:pt x="0" y="0"/>
                </a:lnTo>
                <a:lnTo>
                  <a:pt x="0" y="756028"/>
                </a:lnTo>
                <a:lnTo>
                  <a:pt x="11658443" y="756028"/>
                </a:lnTo>
                <a:lnTo>
                  <a:pt x="11605940" y="586893"/>
                </a:lnTo>
                <a:cubicBezTo>
                  <a:pt x="11460063" y="242001"/>
                  <a:pt x="11118555" y="0"/>
                  <a:pt x="10720524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1C8B4150-817E-4B8E-916F-E8B46846C44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5999" y="1592263"/>
            <a:ext cx="4608512" cy="367347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C16F1EDE-07DF-43AB-8A65-661E3310C7DD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6" cy="635012"/>
          </a:xfrm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E1693C54-214A-467B-94D9-3C6EEBB7A9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60FD036F-A46D-4314-8131-39D809908F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4D8268D6-65FC-417B-BB85-D567682934A8}"/>
                </a:ext>
              </a:extLst>
            </p:cNvPr>
            <p:cNvGrpSpPr/>
            <p:nvPr/>
          </p:nvGrpSpPr>
          <p:grpSpPr>
            <a:xfrm>
              <a:off x="1311217" y="1530579"/>
              <a:ext cx="1533582" cy="307590"/>
              <a:chOff x="3987943" y="2307132"/>
              <a:chExt cx="2607166" cy="522910"/>
            </a:xfrm>
          </p:grpSpPr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4172BB35-8858-49CD-96AE-FDCEE59F22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8">
                <a:extLst>
                  <a:ext uri="{FF2B5EF4-FFF2-40B4-BE49-F238E27FC236}">
                    <a16:creationId xmlns:a16="http://schemas.microsoft.com/office/drawing/2014/main" id="{F340F6B4-1EFA-483F-B118-558F6661B57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9">
                <a:extLst>
                  <a:ext uri="{FF2B5EF4-FFF2-40B4-BE49-F238E27FC236}">
                    <a16:creationId xmlns:a16="http://schemas.microsoft.com/office/drawing/2014/main" id="{67E7091C-7DB4-4F54-8BD2-10E16CA708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0">
                <a:extLst>
                  <a:ext uri="{FF2B5EF4-FFF2-40B4-BE49-F238E27FC236}">
                    <a16:creationId xmlns:a16="http://schemas.microsoft.com/office/drawing/2014/main" id="{4AC1E5B1-8B93-4B6A-9CE2-8CE4650B3F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1">
                <a:extLst>
                  <a:ext uri="{FF2B5EF4-FFF2-40B4-BE49-F238E27FC236}">
                    <a16:creationId xmlns:a16="http://schemas.microsoft.com/office/drawing/2014/main" id="{B1F3E871-E4D3-47AC-AB4F-2FD7CE3DC8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9" name="Freeform 12">
                <a:extLst>
                  <a:ext uri="{FF2B5EF4-FFF2-40B4-BE49-F238E27FC236}">
                    <a16:creationId xmlns:a16="http://schemas.microsoft.com/office/drawing/2014/main" id="{CCC5F6CC-254D-4796-85D0-A82C55A1BF6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3">
                <a:extLst>
                  <a:ext uri="{FF2B5EF4-FFF2-40B4-BE49-F238E27FC236}">
                    <a16:creationId xmlns:a16="http://schemas.microsoft.com/office/drawing/2014/main" id="{D01066B0-8E74-4F18-86ED-E60684F2B0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4">
                <a:extLst>
                  <a:ext uri="{FF2B5EF4-FFF2-40B4-BE49-F238E27FC236}">
                    <a16:creationId xmlns:a16="http://schemas.microsoft.com/office/drawing/2014/main" id="{EC483BAE-FA8E-412F-B79A-2DCC30C26BD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5">
                <a:extLst>
                  <a:ext uri="{FF2B5EF4-FFF2-40B4-BE49-F238E27FC236}">
                    <a16:creationId xmlns:a16="http://schemas.microsoft.com/office/drawing/2014/main" id="{EE2F4D82-F828-4479-AF1C-2DCE4FC556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6">
                <a:extLst>
                  <a:ext uri="{FF2B5EF4-FFF2-40B4-BE49-F238E27FC236}">
                    <a16:creationId xmlns:a16="http://schemas.microsoft.com/office/drawing/2014/main" id="{8A1DBB14-E57E-4B1F-A22A-35FA040005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D5F6429-6903-4DFA-8711-34C3DBEF5FF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3C8F042C-7DF4-4835-9990-91DD11677E22}" type="datetime1">
              <a:rPr lang="de-DE" smtClean="0"/>
              <a:t>2022-01-1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C01C9B1-F32F-4DD5-92C2-59AA306A341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5DA77D9-60AF-4B23-A340-0E478ACD3C0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72483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folie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43B2B53F-4E76-4B5C-A72C-FAF82D9E2878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75201C21-CEDF-48CA-93BB-DCDE83D534C5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02C52DA6-D781-4567-9964-041EC68B06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220CFDCA-BA3A-42E0-B47F-9245B47DA7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6A0DAE39-70FF-48A6-8E27-8F70D93BDC9D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id="{0044B34A-C2D1-436E-B9BB-E778BCF8C4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4C9B4A84-E50E-4911-B5B2-518AAE16C82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4118E05D-B58E-4583-822E-8E801F1B71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1EFDAA4F-3A46-415B-B805-F62DCCDB31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0190A4D5-1889-4CEE-9622-126BC31DBD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DA77A66D-1283-4A5A-9E1F-9A051D2A2E8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03C6FEEB-6794-4EB2-9610-8A0576ADB8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349A3C5C-A554-4AC4-9892-85FEFE1EABC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E78FD7B2-7ED7-43BD-853B-C6FD3A728F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312FEFA6-7DF0-46EC-BA10-172F3435D8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2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0A241901-4314-4749-BA37-8BFED61F3C7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/>
            <a:fld id="{828AF3B3-6D04-4A97-981D-8D03DAA86726}" type="datetime1">
              <a:rPr lang="de-DE" smtClean="0"/>
              <a:t>2022-01-13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72963B00-689C-4933-A4CB-D08E8780A83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2C85099F-F1E7-44DA-A203-9C60530ED48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9" name="Untertitel 2">
            <a:extLst>
              <a:ext uri="{FF2B5EF4-FFF2-40B4-BE49-F238E27FC236}">
                <a16:creationId xmlns:a16="http://schemas.microsoft.com/office/drawing/2014/main" id="{DFAD810F-0319-4C39-9937-B53CE8D33BC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854810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Bild S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hteck 45">
            <a:extLst>
              <a:ext uri="{FF2B5EF4-FFF2-40B4-BE49-F238E27FC236}">
                <a16:creationId xmlns:a16="http://schemas.microsoft.com/office/drawing/2014/main" id="{3D2A4342-772C-454C-9FB8-F488668A682D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6913562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3A90691E-716D-4DE3-BDD9-DFE364F3C8D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8401050" y="0"/>
            <a:ext cx="3790950" cy="5990252"/>
          </a:xfrm>
          <a:custGeom>
            <a:avLst/>
            <a:gdLst>
              <a:gd name="connsiteX0" fmla="*/ 0 w 3790950"/>
              <a:gd name="connsiteY0" fmla="*/ 0 h 5990252"/>
              <a:gd name="connsiteX1" fmla="*/ 3790950 w 3790950"/>
              <a:gd name="connsiteY1" fmla="*/ 0 h 5990252"/>
              <a:gd name="connsiteX2" fmla="*/ 3790950 w 3790950"/>
              <a:gd name="connsiteY2" fmla="*/ 5990252 h 5990252"/>
              <a:gd name="connsiteX3" fmla="*/ 861219 w 3790950"/>
              <a:gd name="connsiteY3" fmla="*/ 5990252 h 5990252"/>
              <a:gd name="connsiteX4" fmla="*/ 0 w 3790950"/>
              <a:gd name="connsiteY4" fmla="*/ 5129033 h 599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90950" h="5990252">
                <a:moveTo>
                  <a:pt x="0" y="0"/>
                </a:moveTo>
                <a:lnTo>
                  <a:pt x="3790950" y="0"/>
                </a:lnTo>
                <a:lnTo>
                  <a:pt x="3790950" y="5990252"/>
                </a:lnTo>
                <a:lnTo>
                  <a:pt x="861219" y="5990252"/>
                </a:lnTo>
                <a:cubicBezTo>
                  <a:pt x="385581" y="5990252"/>
                  <a:pt x="0" y="5604671"/>
                  <a:pt x="0" y="512903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223D12F-5BA2-4212-90D8-C3F2987139E1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 algn="r"/>
            <a:fld id="{4D60B2E7-59F2-4634-911A-BF2C2B28BDF4}" type="datetime1">
              <a:rPr lang="de-DE" smtClean="0"/>
              <a:t>2022-01-1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2B1AFC9-741A-4EC5-8430-DC0E85F28FA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D9EA5FB-BF30-46C2-B765-2D66629D139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platzhalter 117">
            <a:extLst>
              <a:ext uri="{FF2B5EF4-FFF2-40B4-BE49-F238E27FC236}">
                <a16:creationId xmlns:a16="http://schemas.microsoft.com/office/drawing/2014/main" id="{E1B82D6B-28E6-4BDE-BF4D-24E61A53183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9EA20353-4C62-4489-B87D-45A1DB0B31E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172892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Bild M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60CFFCAA-FE4E-4313-92E3-61D46429689A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2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33FA860D-0A1E-41CA-B1A0-2CE3754EDE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096000" y="1"/>
            <a:ext cx="6096000" cy="5990252"/>
          </a:xfrm>
          <a:custGeom>
            <a:avLst/>
            <a:gdLst>
              <a:gd name="connsiteX0" fmla="*/ 0 w 6096000"/>
              <a:gd name="connsiteY0" fmla="*/ 0 h 5990252"/>
              <a:gd name="connsiteX1" fmla="*/ 6096000 w 6096000"/>
              <a:gd name="connsiteY1" fmla="*/ 0 h 5990252"/>
              <a:gd name="connsiteX2" fmla="*/ 6096000 w 6096000"/>
              <a:gd name="connsiteY2" fmla="*/ 5990252 h 5990252"/>
              <a:gd name="connsiteX3" fmla="*/ 861219 w 6096000"/>
              <a:gd name="connsiteY3" fmla="*/ 5990252 h 5990252"/>
              <a:gd name="connsiteX4" fmla="*/ 0 w 6096000"/>
              <a:gd name="connsiteY4" fmla="*/ 5129033 h 599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5990252">
                <a:moveTo>
                  <a:pt x="0" y="0"/>
                </a:moveTo>
                <a:lnTo>
                  <a:pt x="6096000" y="0"/>
                </a:lnTo>
                <a:lnTo>
                  <a:pt x="6096000" y="5990252"/>
                </a:lnTo>
                <a:lnTo>
                  <a:pt x="861219" y="5990252"/>
                </a:lnTo>
                <a:cubicBezTo>
                  <a:pt x="385581" y="5990252"/>
                  <a:pt x="0" y="5604671"/>
                  <a:pt x="0" y="512903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B53A2B0-760E-4033-91D7-8649FC3A050C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127CE756-7C67-4ACB-BF3D-183664DAC840}" type="datetime1">
              <a:rPr lang="de-DE" smtClean="0"/>
              <a:t>2022-01-1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E991CD1-EC6E-43B8-8B3F-4B3737746BE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D784862-17BF-429A-BCE7-BD798D825FD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platzhalter 117">
            <a:extLst>
              <a:ext uri="{FF2B5EF4-FFF2-40B4-BE49-F238E27FC236}">
                <a16:creationId xmlns:a16="http://schemas.microsoft.com/office/drawing/2014/main" id="{8CA28BF6-CD77-4A2E-A2AD-EB98ED41B5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9679123A-B18B-4E56-B697-D2F3428DE74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415918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Bild L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317B55F7-F5B3-46AC-9AB6-55579C09F6E2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2305050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2301875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43E2C865-4F6F-4FFB-9FA5-5FFFFBBB051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792538" y="0"/>
            <a:ext cx="8399462" cy="5990252"/>
          </a:xfrm>
          <a:custGeom>
            <a:avLst/>
            <a:gdLst>
              <a:gd name="connsiteX0" fmla="*/ 0 w 8399462"/>
              <a:gd name="connsiteY0" fmla="*/ 0 h 5990252"/>
              <a:gd name="connsiteX1" fmla="*/ 8399462 w 8399462"/>
              <a:gd name="connsiteY1" fmla="*/ 0 h 5990252"/>
              <a:gd name="connsiteX2" fmla="*/ 8399462 w 8399462"/>
              <a:gd name="connsiteY2" fmla="*/ 5990252 h 5990252"/>
              <a:gd name="connsiteX3" fmla="*/ 861219 w 8399462"/>
              <a:gd name="connsiteY3" fmla="*/ 5990252 h 5990252"/>
              <a:gd name="connsiteX4" fmla="*/ 0 w 8399462"/>
              <a:gd name="connsiteY4" fmla="*/ 5129033 h 599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399462" h="5990252">
                <a:moveTo>
                  <a:pt x="0" y="0"/>
                </a:moveTo>
                <a:lnTo>
                  <a:pt x="8399462" y="0"/>
                </a:lnTo>
                <a:lnTo>
                  <a:pt x="8399462" y="5990252"/>
                </a:lnTo>
                <a:lnTo>
                  <a:pt x="861219" y="5990252"/>
                </a:lnTo>
                <a:cubicBezTo>
                  <a:pt x="385581" y="5990252"/>
                  <a:pt x="0" y="5604671"/>
                  <a:pt x="0" y="512903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B0E5F44-7D73-4948-A7F2-232AB4FF03C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02D7C137-0559-491E-AC56-FCE4ECA3A56C}" type="datetime1">
              <a:rPr lang="de-DE" smtClean="0"/>
              <a:t>2022-01-1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FA77F78-4CC6-4F26-8568-3DB995886CD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1FCC11E2-1CDF-49C5-9FE1-DB63FC68EC2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platzhalter 117">
            <a:extLst>
              <a:ext uri="{FF2B5EF4-FFF2-40B4-BE49-F238E27FC236}">
                <a16:creationId xmlns:a16="http://schemas.microsoft.com/office/drawing/2014/main" id="{E884F540-0080-4436-99F9-12F8A496165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CE47D79E-DE22-4CBC-BC3F-D6E47CD3607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2301875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3816735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Handy Mock Up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4FB74C79-6B2D-447C-A2E5-85FB3B12B787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D37BE5F2-D7FB-4977-8AF7-D18E307485C0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7167D78A-F631-4872-8F60-EFB6C3F3F2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EC11866A-2BDE-489A-8672-1BDDD2DDCA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412BBC8C-A999-4145-8AF2-263B11FCF75C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id="{757D08F4-328E-40C1-B69B-14F4437DE1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25251DDD-805D-4D26-BF44-4C9F5441CA2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FC4DAFC4-E681-44F5-B923-1F20567D25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EBAA4CDC-2750-471B-AD22-96D8C847C9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DC2428D3-3B70-4634-A5C7-5803307737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3E7E9CD4-A2C5-419E-9B44-13A4212813D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498E6F53-74C9-452A-9930-4FBABABA06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DBED4D4F-FE8B-4103-97F7-7BFC82163AF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E3A5F04A-8433-42FB-9FB9-A2B210CE6A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A49C6C45-95C3-4970-9C5B-9B96FA94F5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/>
        </p:nvSpPr>
        <p:spPr>
          <a:xfrm>
            <a:off x="7812776" y="1130300"/>
            <a:ext cx="2293249" cy="4800600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5761037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4" name="Grafik 13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8154BCEC-D9D2-4955-A59E-FC7B39327B5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36702" y="686312"/>
            <a:ext cx="4049097" cy="6273288"/>
          </a:xfrm>
          <a:prstGeom prst="rect">
            <a:avLst/>
          </a:prstGeom>
        </p:spPr>
      </p:pic>
      <p:sp>
        <p:nvSpPr>
          <p:cNvPr id="48" name="Bildplatzhalter 47">
            <a:extLst>
              <a:ext uri="{FF2B5EF4-FFF2-40B4-BE49-F238E27FC236}">
                <a16:creationId xmlns:a16="http://schemas.microsoft.com/office/drawing/2014/main" id="{21BB63CB-D1F9-47F4-BC55-11AD749DA26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188325" y="834258"/>
            <a:ext cx="2235362" cy="4833117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2EF9841-421F-4152-880D-BBF3BBD10B58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C559ADDA-2D05-4124-96F2-3EA0779C9968}" type="datetime1">
              <a:rPr lang="de-DE" smtClean="0"/>
              <a:t>2022-01-13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A86F7D5-69CA-4283-8022-108E607FC8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0EDD423B-497D-4CCF-A170-87E1DA4963E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9" name="Untertitel 2">
            <a:extLst>
              <a:ext uri="{FF2B5EF4-FFF2-40B4-BE49-F238E27FC236}">
                <a16:creationId xmlns:a16="http://schemas.microsoft.com/office/drawing/2014/main" id="{43AA36A9-77D1-44BE-BA4D-47000688CC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9324207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Handy Mock Up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FEB09ED1-D2C0-4AA9-B708-2A32DD37818B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3429000 h 6858000"/>
              <a:gd name="connsiteX3" fmla="*/ 7023099 w 12192000"/>
              <a:gd name="connsiteY3" fmla="*/ 3429000 h 6858000"/>
              <a:gd name="connsiteX4" fmla="*/ 6096000 w 12192000"/>
              <a:gd name="connsiteY4" fmla="*/ 4356099 h 6858000"/>
              <a:gd name="connsiteX5" fmla="*/ 6096000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7023099" y="3429000"/>
                </a:lnTo>
                <a:cubicBezTo>
                  <a:pt x="6511076" y="3429000"/>
                  <a:pt x="6096000" y="3844076"/>
                  <a:pt x="6096000" y="4356099"/>
                </a:cubicBez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/>
        </p:nvSpPr>
        <p:spPr>
          <a:xfrm>
            <a:off x="7812776" y="1130300"/>
            <a:ext cx="2293249" cy="4800600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8138" y="1592263"/>
            <a:ext cx="4605338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9" name="Grafik 1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04A93760-5CB7-4A71-88CE-5A17695854F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36702" y="686312"/>
            <a:ext cx="4049097" cy="6273288"/>
          </a:xfrm>
          <a:prstGeom prst="rect">
            <a:avLst/>
          </a:prstGeom>
        </p:spPr>
      </p:pic>
      <p:sp>
        <p:nvSpPr>
          <p:cNvPr id="12" name="Bildplatzhalter 47">
            <a:extLst>
              <a:ext uri="{FF2B5EF4-FFF2-40B4-BE49-F238E27FC236}">
                <a16:creationId xmlns:a16="http://schemas.microsoft.com/office/drawing/2014/main" id="{9FFF591E-DE1B-4866-BA8A-50846A0938A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188325" y="834258"/>
            <a:ext cx="2235362" cy="4833117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9FAA5AB-AF5D-45FC-9331-37CB30DA67F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47068E9C-B24D-4092-9947-7533F45BB684}" type="datetime1">
              <a:rPr lang="de-DE" smtClean="0"/>
              <a:t>2022-01-13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586052F2-2BEC-49E6-B1FD-629E3243462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CC481FCD-D56C-4922-BAFD-224BE4BC24F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01E1623E-C7C8-456D-B712-2ACDFE584EBB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5" cy="635012"/>
          </a:xfrm>
        </p:grpSpPr>
        <p:sp>
          <p:nvSpPr>
            <p:cNvPr id="14" name="Oval 5">
              <a:extLst>
                <a:ext uri="{FF2B5EF4-FFF2-40B4-BE49-F238E27FC236}">
                  <a16:creationId xmlns:a16="http://schemas.microsoft.com/office/drawing/2014/main" id="{358E2997-F269-4B55-819A-BD949E9783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576BB871-46F7-4C87-A566-E27C94415E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1553D4F3-B8D5-4E12-8C8B-CA8D8E2770C0}"/>
                </a:ext>
              </a:extLst>
            </p:cNvPr>
            <p:cNvGrpSpPr/>
            <p:nvPr/>
          </p:nvGrpSpPr>
          <p:grpSpPr>
            <a:xfrm>
              <a:off x="1311216" y="1530579"/>
              <a:ext cx="1533582" cy="307590"/>
              <a:chOff x="3987943" y="2307132"/>
              <a:chExt cx="2607166" cy="522910"/>
            </a:xfrm>
          </p:grpSpPr>
          <p:sp>
            <p:nvSpPr>
              <p:cNvPr id="18" name="Freeform 7">
                <a:extLst>
                  <a:ext uri="{FF2B5EF4-FFF2-40B4-BE49-F238E27FC236}">
                    <a16:creationId xmlns:a16="http://schemas.microsoft.com/office/drawing/2014/main" id="{27F14C16-9401-415C-8BD8-DEE7D893D8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0D470AC2-F14B-419D-9CAB-34FCD7601E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D544B772-451B-4E62-A44C-36EEB45F0E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F3045032-1089-4088-B9C1-C273C1BDBB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F21C82FE-8694-4686-BBB5-827622BDA3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44A7E0A4-CDDC-416C-AC69-00FF083A8DC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9DB17AFF-3E32-4842-B851-1F44A3300B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7A4A52D1-E196-43E8-A898-BE5460788F3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05E985F5-C685-49A8-AA2F-949F5BFF5A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DFBA3D12-4595-491A-9605-D4FFC67076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Untertitel 2">
            <a:extLst>
              <a:ext uri="{FF2B5EF4-FFF2-40B4-BE49-F238E27FC236}">
                <a16:creationId xmlns:a16="http://schemas.microsoft.com/office/drawing/2014/main" id="{B8434D50-54AF-4F54-BAC8-BDA813C7A83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2386914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iPad Mock Up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>
            <a:extLst>
              <a:ext uri="{FF2B5EF4-FFF2-40B4-BE49-F238E27FC236}">
                <a16:creationId xmlns:a16="http://schemas.microsoft.com/office/drawing/2014/main" id="{96FB6659-AE4F-433E-99EC-86EB70F7EF7F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/>
        </p:nvSpPr>
        <p:spPr>
          <a:xfrm>
            <a:off x="7039363" y="883805"/>
            <a:ext cx="3838704" cy="5024482"/>
          </a:xfrm>
          <a:prstGeom prst="roundRect">
            <a:avLst>
              <a:gd name="adj" fmla="val 786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5761037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610447DE-E9B1-426F-82A5-E201443FF2A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0770" t="2076" r="21396"/>
          <a:stretch/>
        </p:blipFill>
        <p:spPr>
          <a:xfrm>
            <a:off x="4943475" y="0"/>
            <a:ext cx="7248525" cy="6715642"/>
          </a:xfrm>
          <a:prstGeom prst="rect">
            <a:avLst/>
          </a:prstGeom>
        </p:spPr>
      </p:pic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034FB8A-2730-47DE-9C0C-033D8CB058B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346951" y="863600"/>
            <a:ext cx="3540124" cy="4718049"/>
          </a:xfrm>
          <a:prstGeom prst="roundRect">
            <a:avLst>
              <a:gd name="adj" fmla="val 1667"/>
            </a:avLst>
          </a:prstGeo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7176DD0E-9929-4538-ACFB-E458064BEE1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AED2C6AE-E332-4C92-B712-35F0D1C5CA20}" type="datetime1">
              <a:rPr lang="de-DE" smtClean="0"/>
              <a:t>2022-01-13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6E9E8ECA-2D12-46E2-8C00-0D84AE7CF77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C25A6720-D3C1-4E2C-85FF-10DE442AAA0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CD53685C-AA02-4122-8DC6-DB6D6F9B927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402478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2 Handy Mock Up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F693E912-CA16-42BD-9B13-E1115EE96111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889F97A2-ABF2-4D64-AA66-7883CE332E97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6" name="Oval 5">
              <a:extLst>
                <a:ext uri="{FF2B5EF4-FFF2-40B4-BE49-F238E27FC236}">
                  <a16:creationId xmlns:a16="http://schemas.microsoft.com/office/drawing/2014/main" id="{66F7C95D-74B4-4F5C-BBA7-91A1AB90BE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3D9B1101-3E32-4271-B4DC-D4062FF254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8" name="Gruppieren 27">
              <a:extLst>
                <a:ext uri="{FF2B5EF4-FFF2-40B4-BE49-F238E27FC236}">
                  <a16:creationId xmlns:a16="http://schemas.microsoft.com/office/drawing/2014/main" id="{9829AB22-8D52-461F-B440-26A77B86CB0D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29" name="Freeform 7">
                <a:extLst>
                  <a:ext uri="{FF2B5EF4-FFF2-40B4-BE49-F238E27FC236}">
                    <a16:creationId xmlns:a16="http://schemas.microsoft.com/office/drawing/2014/main" id="{4CF857CC-2901-4F42-9233-853B5D63AE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8">
                <a:extLst>
                  <a:ext uri="{FF2B5EF4-FFF2-40B4-BE49-F238E27FC236}">
                    <a16:creationId xmlns:a16="http://schemas.microsoft.com/office/drawing/2014/main" id="{11FE3F05-9217-42BC-80A9-AAC7E6E849E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9">
                <a:extLst>
                  <a:ext uri="{FF2B5EF4-FFF2-40B4-BE49-F238E27FC236}">
                    <a16:creationId xmlns:a16="http://schemas.microsoft.com/office/drawing/2014/main" id="{16B3B9FE-F133-438D-AD84-EC51942391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0">
                <a:extLst>
                  <a:ext uri="{FF2B5EF4-FFF2-40B4-BE49-F238E27FC236}">
                    <a16:creationId xmlns:a16="http://schemas.microsoft.com/office/drawing/2014/main" id="{8FBD55AD-9814-4F26-B91E-D2C4B92999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1">
                <a:extLst>
                  <a:ext uri="{FF2B5EF4-FFF2-40B4-BE49-F238E27FC236}">
                    <a16:creationId xmlns:a16="http://schemas.microsoft.com/office/drawing/2014/main" id="{C30F0D69-4CC1-4454-B748-72DFF851EB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2">
                <a:extLst>
                  <a:ext uri="{FF2B5EF4-FFF2-40B4-BE49-F238E27FC236}">
                    <a16:creationId xmlns:a16="http://schemas.microsoft.com/office/drawing/2014/main" id="{0AAA4B98-3BAE-4F2F-872C-6C32595267F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3">
                <a:extLst>
                  <a:ext uri="{FF2B5EF4-FFF2-40B4-BE49-F238E27FC236}">
                    <a16:creationId xmlns:a16="http://schemas.microsoft.com/office/drawing/2014/main" id="{F07DF6E7-F0CD-4ED2-87FD-6841CDC592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4">
                <a:extLst>
                  <a:ext uri="{FF2B5EF4-FFF2-40B4-BE49-F238E27FC236}">
                    <a16:creationId xmlns:a16="http://schemas.microsoft.com/office/drawing/2014/main" id="{9A456FC8-BDB6-4546-ABF9-E769BDB6F0F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5">
                <a:extLst>
                  <a:ext uri="{FF2B5EF4-FFF2-40B4-BE49-F238E27FC236}">
                    <a16:creationId xmlns:a16="http://schemas.microsoft.com/office/drawing/2014/main" id="{6C563657-972E-403C-94BC-040D3D7BAB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6">
                <a:extLst>
                  <a:ext uri="{FF2B5EF4-FFF2-40B4-BE49-F238E27FC236}">
                    <a16:creationId xmlns:a16="http://schemas.microsoft.com/office/drawing/2014/main" id="{BAFE9A3D-A61B-4444-B4F4-796B96D8ED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4" y="1592263"/>
            <a:ext cx="3672850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2EF9841-421F-4152-880D-BBF3BBD10B58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48920576-94D2-4E1E-8818-183D5273E87E}" type="datetime1">
              <a:rPr lang="de-DE" smtClean="0"/>
              <a:t>2022-01-13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A86F7D5-69CA-4283-8022-108E607FC8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0EDD423B-497D-4CCF-A170-87E1DA4963E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C2346866-6A4B-4F6D-B6A3-C5F9E9CC4A34}"/>
              </a:ext>
            </a:extLst>
          </p:cNvPr>
          <p:cNvSpPr/>
          <p:nvPr/>
        </p:nvSpPr>
        <p:spPr>
          <a:xfrm>
            <a:off x="4799975" y="1873261"/>
            <a:ext cx="1451388" cy="3038279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pic>
        <p:nvPicPr>
          <p:cNvPr id="15" name="Grafik 14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A2ECC125-1D19-463D-901C-78124C185B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18932" y="1592263"/>
            <a:ext cx="2562657" cy="3970337"/>
          </a:xfrm>
          <a:prstGeom prst="rect">
            <a:avLst/>
          </a:prstGeom>
        </p:spPr>
      </p:pic>
      <p:sp>
        <p:nvSpPr>
          <p:cNvPr id="18" name="Rechteck: abgerundete Ecken 17">
            <a:extLst>
              <a:ext uri="{FF2B5EF4-FFF2-40B4-BE49-F238E27FC236}">
                <a16:creationId xmlns:a16="http://schemas.microsoft.com/office/drawing/2014/main" id="{8068B0AF-45C9-4587-80AA-5FB0C48136E6}"/>
              </a:ext>
            </a:extLst>
          </p:cNvPr>
          <p:cNvSpPr/>
          <p:nvPr/>
        </p:nvSpPr>
        <p:spPr>
          <a:xfrm>
            <a:off x="8253833" y="1873261"/>
            <a:ext cx="1451388" cy="3038279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pic>
        <p:nvPicPr>
          <p:cNvPr id="19" name="Grafik 1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4EA724CD-CCCA-40EB-9BBF-7E7FF8A98E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72790" y="1592263"/>
            <a:ext cx="2562657" cy="3970337"/>
          </a:xfrm>
          <a:prstGeom prst="rect">
            <a:avLst/>
          </a:prstGeom>
        </p:spPr>
      </p:pic>
      <p:sp>
        <p:nvSpPr>
          <p:cNvPr id="35" name="Bildplatzhalter 47">
            <a:extLst>
              <a:ext uri="{FF2B5EF4-FFF2-40B4-BE49-F238E27FC236}">
                <a16:creationId xmlns:a16="http://schemas.microsoft.com/office/drawing/2014/main" id="{491BA93E-E5F3-48AC-A3BA-B7D4CD7DBEC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5037658" y="1685897"/>
            <a:ext cx="1414752" cy="3055001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37" name="Bildplatzhalter 47">
            <a:extLst>
              <a:ext uri="{FF2B5EF4-FFF2-40B4-BE49-F238E27FC236}">
                <a16:creationId xmlns:a16="http://schemas.microsoft.com/office/drawing/2014/main" id="{574E156E-CBCD-45CF-AAC9-84D35B20AAC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8491516" y="1685897"/>
            <a:ext cx="1414752" cy="3055001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38" name="Textplatzhalter 5">
            <a:extLst>
              <a:ext uri="{FF2B5EF4-FFF2-40B4-BE49-F238E27FC236}">
                <a16:creationId xmlns:a16="http://schemas.microsoft.com/office/drawing/2014/main" id="{C0A94FD5-C278-4C7F-A805-75DA9B93B8F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943474" y="5149895"/>
            <a:ext cx="2228035" cy="412706"/>
          </a:xfrm>
        </p:spPr>
        <p:txBody>
          <a:bodyPr anchor="t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1</a:t>
            </a:r>
          </a:p>
        </p:txBody>
      </p:sp>
      <p:sp>
        <p:nvSpPr>
          <p:cNvPr id="20" name="Textplatzhalter 5">
            <a:extLst>
              <a:ext uri="{FF2B5EF4-FFF2-40B4-BE49-F238E27FC236}">
                <a16:creationId xmlns:a16="http://schemas.microsoft.com/office/drawing/2014/main" id="{5676D185-2C51-4F27-B9D6-5A1E42D749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01051" y="5149895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2</a:t>
            </a:r>
          </a:p>
        </p:txBody>
      </p:sp>
      <p:sp>
        <p:nvSpPr>
          <p:cNvPr id="21" name="Textplatzhalter 28">
            <a:extLst>
              <a:ext uri="{FF2B5EF4-FFF2-40B4-BE49-F238E27FC236}">
                <a16:creationId xmlns:a16="http://schemas.microsoft.com/office/drawing/2014/main" id="{43C8CC5A-2B84-4101-830B-BCD94185DE4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43474" y="5562601"/>
            <a:ext cx="2665414" cy="802240"/>
          </a:xfrm>
        </p:spPr>
        <p:txBody>
          <a:bodyPr anchor="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2" name="Textplatzhalter 28">
            <a:extLst>
              <a:ext uri="{FF2B5EF4-FFF2-40B4-BE49-F238E27FC236}">
                <a16:creationId xmlns:a16="http://schemas.microsoft.com/office/drawing/2014/main" id="{C3041C11-8D41-447B-B837-FF9F7E94DC8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01051" y="5562601"/>
            <a:ext cx="2665414" cy="802240"/>
          </a:xfrm>
        </p:spPr>
        <p:txBody>
          <a:bodyPr anchor="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42" name="Untertitel 2">
            <a:extLst>
              <a:ext uri="{FF2B5EF4-FFF2-40B4-BE49-F238E27FC236}">
                <a16:creationId xmlns:a16="http://schemas.microsoft.com/office/drawing/2014/main" id="{E7B4D499-D0D5-4F6E-B6DA-418C7C0AD63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352072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iPad Mock Up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>
            <a:extLst>
              <a:ext uri="{FF2B5EF4-FFF2-40B4-BE49-F238E27FC236}">
                <a16:creationId xmlns:a16="http://schemas.microsoft.com/office/drawing/2014/main" id="{96FB6659-AE4F-433E-99EC-86EB70F7EF7F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/>
        </p:nvSpPr>
        <p:spPr>
          <a:xfrm>
            <a:off x="7039363" y="883805"/>
            <a:ext cx="3838704" cy="5024482"/>
          </a:xfrm>
          <a:prstGeom prst="roundRect">
            <a:avLst>
              <a:gd name="adj" fmla="val 786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5761037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610447DE-E9B1-426F-82A5-E201443FF2A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0770" t="2076" r="21396"/>
          <a:stretch/>
        </p:blipFill>
        <p:spPr>
          <a:xfrm>
            <a:off x="4943475" y="0"/>
            <a:ext cx="7248525" cy="6715642"/>
          </a:xfrm>
          <a:prstGeom prst="rect">
            <a:avLst/>
          </a:prstGeom>
        </p:spPr>
      </p:pic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034FB8A-2730-47DE-9C0C-033D8CB058B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346951" y="863600"/>
            <a:ext cx="3540124" cy="4718049"/>
          </a:xfrm>
          <a:prstGeom prst="roundRect">
            <a:avLst>
              <a:gd name="adj" fmla="val 1667"/>
            </a:avLst>
          </a:prstGeo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7176DD0E-9929-4538-ACFB-E458064BEE1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4828E3D8-FD91-4374-9419-61789CDB734F}" type="datetime1">
              <a:rPr lang="de-DE" smtClean="0"/>
              <a:t>2022-01-13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6E9E8ECA-2D12-46E2-8C00-0D84AE7CF77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C25A6720-D3C1-4E2C-85FF-10DE442AAA0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CD53685C-AA02-4122-8DC6-DB6D6F9B927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02195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iPad Mock Up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2C37800F-9453-4EDC-97E8-0481E758488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3429000 h 6858000"/>
              <a:gd name="connsiteX3" fmla="*/ 7023099 w 12192000"/>
              <a:gd name="connsiteY3" fmla="*/ 3429000 h 6858000"/>
              <a:gd name="connsiteX4" fmla="*/ 6096000 w 12192000"/>
              <a:gd name="connsiteY4" fmla="*/ 4356099 h 6858000"/>
              <a:gd name="connsiteX5" fmla="*/ 6096000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7023099" y="3429000"/>
                </a:lnTo>
                <a:cubicBezTo>
                  <a:pt x="6511076" y="3429000"/>
                  <a:pt x="6096000" y="3844076"/>
                  <a:pt x="6096000" y="4356099"/>
                </a:cubicBez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/>
        </p:nvSpPr>
        <p:spPr>
          <a:xfrm>
            <a:off x="7039363" y="883805"/>
            <a:ext cx="3838704" cy="5024482"/>
          </a:xfrm>
          <a:prstGeom prst="roundRect">
            <a:avLst>
              <a:gd name="adj" fmla="val 786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3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610447DE-E9B1-426F-82A5-E201443FF2A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399" t="2076" r="21395"/>
          <a:stretch/>
        </p:blipFill>
        <p:spPr>
          <a:xfrm>
            <a:off x="4583113" y="0"/>
            <a:ext cx="7608887" cy="6715642"/>
          </a:xfrm>
          <a:prstGeom prst="rect">
            <a:avLst/>
          </a:prstGeom>
          <a:ln>
            <a:noFill/>
          </a:ln>
        </p:spPr>
      </p:pic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034FB8A-2730-47DE-9C0C-033D8CB058B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346951" y="863600"/>
            <a:ext cx="3540124" cy="4718049"/>
          </a:xfrm>
          <a:prstGeom prst="roundRect">
            <a:avLst>
              <a:gd name="adj" fmla="val 1667"/>
            </a:avLst>
          </a:prstGeo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EE2E0E08-E5AC-46D2-99B4-35BA98B72A2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C84B9279-F774-4D72-AA40-9B31DE58A0C7}" type="datetime1">
              <a:rPr lang="de-DE" smtClean="0"/>
              <a:t>2022-01-13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3D9E1DE6-5FAE-435F-8AB8-2D86709EE6F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EE4286F4-D689-4FFC-91E4-90B2645B9A9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C6753097-1DB3-419A-91AC-D5B72E871A6B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5" cy="635012"/>
          </a:xfrm>
        </p:grpSpPr>
        <p:sp>
          <p:nvSpPr>
            <p:cNvPr id="15" name="Oval 5">
              <a:extLst>
                <a:ext uri="{FF2B5EF4-FFF2-40B4-BE49-F238E27FC236}">
                  <a16:creationId xmlns:a16="http://schemas.microsoft.com/office/drawing/2014/main" id="{D9D85354-3FEE-4119-853F-1445998749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CD487532-8521-417D-A048-8C4669F44C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9BD55D0F-593D-4A0D-BDE4-5B4526B1B436}"/>
                </a:ext>
              </a:extLst>
            </p:cNvPr>
            <p:cNvGrpSpPr/>
            <p:nvPr/>
          </p:nvGrpSpPr>
          <p:grpSpPr>
            <a:xfrm>
              <a:off x="1311216" y="1530579"/>
              <a:ext cx="1533582" cy="307590"/>
              <a:chOff x="3987943" y="2307132"/>
              <a:chExt cx="2607166" cy="522910"/>
            </a:xfrm>
          </p:grpSpPr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id="{88A73487-47E1-40BC-8038-B766B67DE0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766DB691-F432-4C12-AD93-97CDBC51174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5B123C74-CC3A-4AD1-9730-E708E9E6CB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23C307AD-317D-49F1-A441-ED1F085FA2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32A47BD3-B6FB-4D5B-8877-027C93A600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9CA9328C-1744-4387-B2F3-894A3FDF23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A9FB15DC-2278-452D-9B77-04B672B950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7F9A4067-A3D0-46C1-A9A2-E06E9AE5E9D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28C6CDC7-E6AB-4633-989A-4AA770A644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E6F3B9CD-F6AE-4110-B914-353C627514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Untertitel 2">
            <a:extLst>
              <a:ext uri="{FF2B5EF4-FFF2-40B4-BE49-F238E27FC236}">
                <a16:creationId xmlns:a16="http://schemas.microsoft.com/office/drawing/2014/main" id="{46D6CADC-F0F5-4A2C-9818-A1B8228A4C9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067548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Text Handy Mock Up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FBB16B60-3BAB-46C5-AA60-2E059C5FA924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8138" y="1592263"/>
            <a:ext cx="4605338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2" name="Grafik 11" descr="Ein Bild, das Screenshot, Laptop, Monitor, Computer enthält.&#10;&#10;Automatisch generierte Beschreibung">
            <a:extLst>
              <a:ext uri="{FF2B5EF4-FFF2-40B4-BE49-F238E27FC236}">
                <a16:creationId xmlns:a16="http://schemas.microsoft.com/office/drawing/2014/main" id="{FA77D189-6797-4577-BAA8-586C620A049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9256" t="1596" r="17397" b="11922"/>
          <a:stretch/>
        </p:blipFill>
        <p:spPr>
          <a:xfrm>
            <a:off x="4664075" y="927099"/>
            <a:ext cx="7248525" cy="5930901"/>
          </a:xfrm>
          <a:prstGeom prst="rect">
            <a:avLst/>
          </a:prstGeom>
        </p:spPr>
      </p:pic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A3D237B3-D03E-4E3B-843B-878E7432337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13450" y="2308224"/>
            <a:ext cx="4924425" cy="3073401"/>
          </a:xfr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70EB910-E9BB-4098-920D-18DAC1BCAF1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BA61FA67-4CBE-4AB3-AAD7-F8E31FB49B3F}" type="datetime1">
              <a:rPr lang="de-DE" smtClean="0"/>
              <a:t>2022-01-1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F2F0E9D-60A9-4F53-BA09-C1D4CC7AA0F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AAA1933-32F6-413A-B222-EEFB93717F2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Untertitel 2">
            <a:extLst>
              <a:ext uri="{FF2B5EF4-FFF2-40B4-BE49-F238E27FC236}">
                <a16:creationId xmlns:a16="http://schemas.microsoft.com/office/drawing/2014/main" id="{BD5AB9C7-E3A0-4376-9897-AD1BFB8938D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913819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Text iPad Mock Up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reihandform: Form 23">
            <a:extLst>
              <a:ext uri="{FF2B5EF4-FFF2-40B4-BE49-F238E27FC236}">
                <a16:creationId xmlns:a16="http://schemas.microsoft.com/office/drawing/2014/main" id="{5BC63CF1-AB2D-493B-90A3-E2C49E60720A}"/>
              </a:ext>
            </a:extLst>
          </p:cNvPr>
          <p:cNvSpPr>
            <a:spLocks/>
          </p:cNvSpPr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3429000 h 6858000"/>
              <a:gd name="connsiteX3" fmla="*/ 5883844 w 12192000"/>
              <a:gd name="connsiteY3" fmla="*/ 3429000 h 6858000"/>
              <a:gd name="connsiteX4" fmla="*/ 4943475 w 12192000"/>
              <a:gd name="connsiteY4" fmla="*/ 4369369 h 6858000"/>
              <a:gd name="connsiteX5" fmla="*/ 4943475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5883844" y="3429000"/>
                </a:lnTo>
                <a:cubicBezTo>
                  <a:pt x="5364493" y="3429000"/>
                  <a:pt x="4943475" y="3850018"/>
                  <a:pt x="4943475" y="4369369"/>
                </a:cubicBezTo>
                <a:lnTo>
                  <a:pt x="494347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8" name="Freihandform: Form 27">
            <a:extLst>
              <a:ext uri="{FF2B5EF4-FFF2-40B4-BE49-F238E27FC236}">
                <a16:creationId xmlns:a16="http://schemas.microsoft.com/office/drawing/2014/main" id="{5C3D82BE-3381-43FD-8C1F-5F4601CE32DB}"/>
              </a:ext>
            </a:extLst>
          </p:cNvPr>
          <p:cNvSpPr/>
          <p:nvPr/>
        </p:nvSpPr>
        <p:spPr>
          <a:xfrm flipH="1">
            <a:off x="5099343" y="3213933"/>
            <a:ext cx="7170708" cy="3748842"/>
          </a:xfrm>
          <a:custGeom>
            <a:avLst/>
            <a:gdLst>
              <a:gd name="connsiteX0" fmla="*/ 6132037 w 7170708"/>
              <a:gd name="connsiteY0" fmla="*/ 0 h 3748842"/>
              <a:gd name="connsiteX1" fmla="*/ 0 w 7170708"/>
              <a:gd name="connsiteY1" fmla="*/ 0 h 3748842"/>
              <a:gd name="connsiteX2" fmla="*/ 0 w 7170708"/>
              <a:gd name="connsiteY2" fmla="*/ 3748842 h 3748842"/>
              <a:gd name="connsiteX3" fmla="*/ 7170708 w 7170708"/>
              <a:gd name="connsiteY3" fmla="*/ 3748842 h 3748842"/>
              <a:gd name="connsiteX4" fmla="*/ 7170708 w 7170708"/>
              <a:gd name="connsiteY4" fmla="*/ 1038671 h 3748842"/>
              <a:gd name="connsiteX5" fmla="*/ 6132037 w 7170708"/>
              <a:gd name="connsiteY5" fmla="*/ 0 h 3748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170708" h="3748842">
                <a:moveTo>
                  <a:pt x="6132037" y="0"/>
                </a:moveTo>
                <a:lnTo>
                  <a:pt x="0" y="0"/>
                </a:lnTo>
                <a:lnTo>
                  <a:pt x="0" y="3748842"/>
                </a:lnTo>
                <a:lnTo>
                  <a:pt x="7170708" y="3748842"/>
                </a:lnTo>
                <a:lnTo>
                  <a:pt x="7170708" y="1038671"/>
                </a:lnTo>
                <a:cubicBezTo>
                  <a:pt x="7170708" y="465029"/>
                  <a:pt x="6705679" y="0"/>
                  <a:pt x="6132037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8138" y="1592263"/>
            <a:ext cx="4244975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7" name="Grafik 16" descr="Ein Bild, das Screenshot, Laptop, Monitor, Computer enthält.&#10;&#10;Automatisch generierte Beschreibung">
            <a:extLst>
              <a:ext uri="{FF2B5EF4-FFF2-40B4-BE49-F238E27FC236}">
                <a16:creationId xmlns:a16="http://schemas.microsoft.com/office/drawing/2014/main" id="{F975FC98-9C9A-4B54-BAA5-D026FFF13AE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9256" t="1596" r="17397" b="11922"/>
          <a:stretch/>
        </p:blipFill>
        <p:spPr>
          <a:xfrm>
            <a:off x="4664075" y="927099"/>
            <a:ext cx="7248525" cy="5930901"/>
          </a:xfrm>
          <a:prstGeom prst="rect">
            <a:avLst/>
          </a:prstGeom>
        </p:spPr>
      </p:pic>
      <p:sp>
        <p:nvSpPr>
          <p:cNvPr id="18" name="Bildplatzhalter 15">
            <a:extLst>
              <a:ext uri="{FF2B5EF4-FFF2-40B4-BE49-F238E27FC236}">
                <a16:creationId xmlns:a16="http://schemas.microsoft.com/office/drawing/2014/main" id="{AFAC29CB-6258-49F1-AEFE-48C4C763D58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13450" y="2308224"/>
            <a:ext cx="4924425" cy="3073401"/>
          </a:xfr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7A6C8F5-0559-4B3D-A642-2C4638D4E8E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5A111028-49AB-488E-B1A7-6ADD1A13CEE6}" type="datetime1">
              <a:rPr lang="de-DE" smtClean="0"/>
              <a:t>2022-01-1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9C13510-10A4-41C5-8ACF-EB970AA0B7A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A8607A9F-7336-4B10-9A47-B08A47C9013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9FED8C54-FAC3-4862-9B8D-DE240B68C898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5" cy="635012"/>
          </a:xfrm>
        </p:grpSpPr>
        <p:sp>
          <p:nvSpPr>
            <p:cNvPr id="12" name="Oval 5">
              <a:extLst>
                <a:ext uri="{FF2B5EF4-FFF2-40B4-BE49-F238E27FC236}">
                  <a16:creationId xmlns:a16="http://schemas.microsoft.com/office/drawing/2014/main" id="{618A242A-4252-4D1B-815B-B50970AB97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42F15D90-51AE-42BE-9523-CD3B8E3320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26A914C2-F17F-4D57-BA1C-16F80E685638}"/>
                </a:ext>
              </a:extLst>
            </p:cNvPr>
            <p:cNvGrpSpPr/>
            <p:nvPr/>
          </p:nvGrpSpPr>
          <p:grpSpPr>
            <a:xfrm>
              <a:off x="1311216" y="1530579"/>
              <a:ext cx="1533582" cy="307590"/>
              <a:chOff x="3987943" y="2307132"/>
              <a:chExt cx="2607166" cy="522910"/>
            </a:xfrm>
          </p:grpSpPr>
          <p:sp>
            <p:nvSpPr>
              <p:cNvPr id="15" name="Freeform 7">
                <a:extLst>
                  <a:ext uri="{FF2B5EF4-FFF2-40B4-BE49-F238E27FC236}">
                    <a16:creationId xmlns:a16="http://schemas.microsoft.com/office/drawing/2014/main" id="{4E7333A9-F536-43FC-ABA8-4A162CBED9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6" name="Freeform 8">
                <a:extLst>
                  <a:ext uri="{FF2B5EF4-FFF2-40B4-BE49-F238E27FC236}">
                    <a16:creationId xmlns:a16="http://schemas.microsoft.com/office/drawing/2014/main" id="{313E2420-E184-49F6-8BFA-375E9544E8C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9">
                <a:extLst>
                  <a:ext uri="{FF2B5EF4-FFF2-40B4-BE49-F238E27FC236}">
                    <a16:creationId xmlns:a16="http://schemas.microsoft.com/office/drawing/2014/main" id="{01C04114-EC10-47A0-81C9-9838F74193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0">
                <a:extLst>
                  <a:ext uri="{FF2B5EF4-FFF2-40B4-BE49-F238E27FC236}">
                    <a16:creationId xmlns:a16="http://schemas.microsoft.com/office/drawing/2014/main" id="{8643CAF3-5E79-4D28-B7EB-070C2194D4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1">
                <a:extLst>
                  <a:ext uri="{FF2B5EF4-FFF2-40B4-BE49-F238E27FC236}">
                    <a16:creationId xmlns:a16="http://schemas.microsoft.com/office/drawing/2014/main" id="{2295F6D0-883B-49BE-B001-CED3629ED5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2">
                <a:extLst>
                  <a:ext uri="{FF2B5EF4-FFF2-40B4-BE49-F238E27FC236}">
                    <a16:creationId xmlns:a16="http://schemas.microsoft.com/office/drawing/2014/main" id="{BC0F5639-ECB9-4517-8CDE-69479470C2E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3">
                <a:extLst>
                  <a:ext uri="{FF2B5EF4-FFF2-40B4-BE49-F238E27FC236}">
                    <a16:creationId xmlns:a16="http://schemas.microsoft.com/office/drawing/2014/main" id="{C159270D-DF8D-4AC3-8363-CCAC82EFE2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4">
                <a:extLst>
                  <a:ext uri="{FF2B5EF4-FFF2-40B4-BE49-F238E27FC236}">
                    <a16:creationId xmlns:a16="http://schemas.microsoft.com/office/drawing/2014/main" id="{38301C80-BCB6-4108-9076-400D64B6E53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5">
                <a:extLst>
                  <a:ext uri="{FF2B5EF4-FFF2-40B4-BE49-F238E27FC236}">
                    <a16:creationId xmlns:a16="http://schemas.microsoft.com/office/drawing/2014/main" id="{D0B10E0F-1854-4556-B36F-842D6CD836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6">
                <a:extLst>
                  <a:ext uri="{FF2B5EF4-FFF2-40B4-BE49-F238E27FC236}">
                    <a16:creationId xmlns:a16="http://schemas.microsoft.com/office/drawing/2014/main" id="{DB35A381-AE18-43BE-A680-D2E071507F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9" name="Untertitel 2">
            <a:extLst>
              <a:ext uri="{FF2B5EF4-FFF2-40B4-BE49-F238E27FC236}">
                <a16:creationId xmlns:a16="http://schemas.microsoft.com/office/drawing/2014/main" id="{357BC088-7F0D-4DFF-AD47-F71E0C0B2E9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531190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ck Ups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>
            <a:extLst>
              <a:ext uri="{FF2B5EF4-FFF2-40B4-BE49-F238E27FC236}">
                <a16:creationId xmlns:a16="http://schemas.microsoft.com/office/drawing/2014/main" id="{42557854-CFB7-40F5-BE2E-2E3FE32E7336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70EB910-E9BB-4098-920D-18DAC1BCAF1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D56B5EA7-72A9-49C6-871F-582F3D2594D3}" type="datetime1">
              <a:rPr lang="de-DE" smtClean="0"/>
              <a:t>2022-01-1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F2F0E9D-60A9-4F53-BA09-C1D4CC7AA0F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AAA1933-32F6-413A-B222-EEFB93717F2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3" name="Grafik 12" descr="Ein Bild, das Screenshot, Laptop, Monitor, Computer enthält.&#10;&#10;Automatisch generierte Beschreibung">
            <a:extLst>
              <a:ext uri="{FF2B5EF4-FFF2-40B4-BE49-F238E27FC236}">
                <a16:creationId xmlns:a16="http://schemas.microsoft.com/office/drawing/2014/main" id="{274B7DAE-D42C-43A7-AB86-58AE8C71161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9256" t="17496" r="17397" b="11922"/>
          <a:stretch/>
        </p:blipFill>
        <p:spPr>
          <a:xfrm>
            <a:off x="603314" y="1544713"/>
            <a:ext cx="8079717" cy="5395499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4DE50EBE-0732-4A1B-8ED1-6A2DB92F9FD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2196" t="11127" r="28438"/>
          <a:stretch/>
        </p:blipFill>
        <p:spPr>
          <a:xfrm>
            <a:off x="5929809" y="2113191"/>
            <a:ext cx="5024002" cy="4827021"/>
          </a:xfrm>
          <a:prstGeom prst="rect">
            <a:avLst/>
          </a:prstGeom>
        </p:spPr>
      </p:pic>
      <p:sp>
        <p:nvSpPr>
          <p:cNvPr id="25" name="Bildplatzhalter 24">
            <a:extLst>
              <a:ext uri="{FF2B5EF4-FFF2-40B4-BE49-F238E27FC236}">
                <a16:creationId xmlns:a16="http://schemas.microsoft.com/office/drawing/2014/main" id="{BA7F5975-2F43-434A-A628-CA5A5F191F8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107423" y="1868711"/>
            <a:ext cx="5489111" cy="3425829"/>
          </a:xfrm>
          <a:custGeom>
            <a:avLst/>
            <a:gdLst>
              <a:gd name="connsiteX0" fmla="*/ 0 w 5489111"/>
              <a:gd name="connsiteY0" fmla="*/ 0 h 3425829"/>
              <a:gd name="connsiteX1" fmla="*/ 5489111 w 5489111"/>
              <a:gd name="connsiteY1" fmla="*/ 0 h 3425829"/>
              <a:gd name="connsiteX2" fmla="*/ 5489111 w 5489111"/>
              <a:gd name="connsiteY2" fmla="*/ 2258813 h 3425829"/>
              <a:gd name="connsiteX3" fmla="*/ 4839123 w 5489111"/>
              <a:gd name="connsiteY3" fmla="*/ 2258788 h 3425829"/>
              <a:gd name="connsiteX4" fmla="*/ 4750322 w 5489111"/>
              <a:gd name="connsiteY4" fmla="*/ 2284867 h 3425829"/>
              <a:gd name="connsiteX5" fmla="*/ 4682035 w 5489111"/>
              <a:gd name="connsiteY5" fmla="*/ 2398573 h 3425829"/>
              <a:gd name="connsiteX6" fmla="*/ 4681617 w 5489111"/>
              <a:gd name="connsiteY6" fmla="*/ 2410092 h 3425829"/>
              <a:gd name="connsiteX7" fmla="*/ 4681599 w 5489111"/>
              <a:gd name="connsiteY7" fmla="*/ 2572763 h 3425829"/>
              <a:gd name="connsiteX8" fmla="*/ 4681599 w 5489111"/>
              <a:gd name="connsiteY8" fmla="*/ 2579897 h 3425829"/>
              <a:gd name="connsiteX9" fmla="*/ 4676100 w 5489111"/>
              <a:gd name="connsiteY9" fmla="*/ 2588768 h 3425829"/>
              <a:gd name="connsiteX10" fmla="*/ 4676142 w 5489111"/>
              <a:gd name="connsiteY10" fmla="*/ 2659787 h 3425829"/>
              <a:gd name="connsiteX11" fmla="*/ 4681095 w 5489111"/>
              <a:gd name="connsiteY11" fmla="*/ 2666770 h 3425829"/>
              <a:gd name="connsiteX12" fmla="*/ 4681095 w 5489111"/>
              <a:gd name="connsiteY12" fmla="*/ 2741680 h 3425829"/>
              <a:gd name="connsiteX13" fmla="*/ 4671996 w 5489111"/>
              <a:gd name="connsiteY13" fmla="*/ 2745494 h 3425829"/>
              <a:gd name="connsiteX14" fmla="*/ 4671996 w 5489111"/>
              <a:gd name="connsiteY14" fmla="*/ 2885114 h 3425829"/>
              <a:gd name="connsiteX15" fmla="*/ 4681174 w 5489111"/>
              <a:gd name="connsiteY15" fmla="*/ 2889262 h 3425829"/>
              <a:gd name="connsiteX16" fmla="*/ 4681174 w 5489111"/>
              <a:gd name="connsiteY16" fmla="*/ 2924571 h 3425829"/>
              <a:gd name="connsiteX17" fmla="*/ 4671996 w 5489111"/>
              <a:gd name="connsiteY17" fmla="*/ 2928815 h 3425829"/>
              <a:gd name="connsiteX18" fmla="*/ 4671996 w 5489111"/>
              <a:gd name="connsiteY18" fmla="*/ 3068437 h 3425829"/>
              <a:gd name="connsiteX19" fmla="*/ 4681599 w 5489111"/>
              <a:gd name="connsiteY19" fmla="*/ 3071891 h 3425829"/>
              <a:gd name="connsiteX20" fmla="*/ 4681599 w 5489111"/>
              <a:gd name="connsiteY20" fmla="*/ 3079742 h 3425829"/>
              <a:gd name="connsiteX21" fmla="*/ 4681532 w 5489111"/>
              <a:gd name="connsiteY21" fmla="*/ 3425829 h 3425829"/>
              <a:gd name="connsiteX22" fmla="*/ 0 w 5489111"/>
              <a:gd name="connsiteY22" fmla="*/ 3425829 h 3425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5489111" h="3425829">
                <a:moveTo>
                  <a:pt x="0" y="0"/>
                </a:moveTo>
                <a:lnTo>
                  <a:pt x="5489111" y="0"/>
                </a:lnTo>
                <a:lnTo>
                  <a:pt x="5489111" y="2258813"/>
                </a:lnTo>
                <a:lnTo>
                  <a:pt x="4839123" y="2258788"/>
                </a:lnTo>
                <a:cubicBezTo>
                  <a:pt x="4806911" y="2258782"/>
                  <a:pt x="4777017" y="2266657"/>
                  <a:pt x="4750322" y="2284867"/>
                </a:cubicBezTo>
                <a:cubicBezTo>
                  <a:pt x="4710224" y="2312222"/>
                  <a:pt x="4687553" y="2350312"/>
                  <a:pt x="4682035" y="2398573"/>
                </a:cubicBezTo>
                <a:cubicBezTo>
                  <a:pt x="4681605" y="2402380"/>
                  <a:pt x="4681617" y="2406254"/>
                  <a:pt x="4681617" y="2410092"/>
                </a:cubicBezTo>
                <a:cubicBezTo>
                  <a:pt x="4681592" y="2464315"/>
                  <a:pt x="4681599" y="2518539"/>
                  <a:pt x="4681599" y="2572763"/>
                </a:cubicBezTo>
                <a:cubicBezTo>
                  <a:pt x="4681599" y="2574979"/>
                  <a:pt x="4681599" y="2577201"/>
                  <a:pt x="4681599" y="2579897"/>
                </a:cubicBezTo>
                <a:cubicBezTo>
                  <a:pt x="4676639" y="2580856"/>
                  <a:pt x="4676063" y="2584293"/>
                  <a:pt x="4676100" y="2588768"/>
                </a:cubicBezTo>
                <a:cubicBezTo>
                  <a:pt x="4676299" y="2612437"/>
                  <a:pt x="4676245" y="2636112"/>
                  <a:pt x="4676142" y="2659787"/>
                </a:cubicBezTo>
                <a:cubicBezTo>
                  <a:pt x="4676123" y="2663448"/>
                  <a:pt x="4676767" y="2666223"/>
                  <a:pt x="4681095" y="2666770"/>
                </a:cubicBezTo>
                <a:cubicBezTo>
                  <a:pt x="4681095" y="2691993"/>
                  <a:pt x="4681095" y="2716992"/>
                  <a:pt x="4681095" y="2741680"/>
                </a:cubicBezTo>
                <a:cubicBezTo>
                  <a:pt x="4677805" y="2743059"/>
                  <a:pt x="4674904" y="2744274"/>
                  <a:pt x="4671996" y="2745494"/>
                </a:cubicBezTo>
                <a:cubicBezTo>
                  <a:pt x="4671996" y="2792037"/>
                  <a:pt x="4671996" y="2838573"/>
                  <a:pt x="4671996" y="2885114"/>
                </a:cubicBezTo>
                <a:cubicBezTo>
                  <a:pt x="4674843" y="2886402"/>
                  <a:pt x="4677690" y="2887696"/>
                  <a:pt x="4681174" y="2889262"/>
                </a:cubicBezTo>
                <a:cubicBezTo>
                  <a:pt x="4681174" y="2900684"/>
                  <a:pt x="4681174" y="2912821"/>
                  <a:pt x="4681174" y="2924571"/>
                </a:cubicBezTo>
                <a:cubicBezTo>
                  <a:pt x="4678000" y="2926041"/>
                  <a:pt x="4675000" y="2927425"/>
                  <a:pt x="4671996" y="2928815"/>
                </a:cubicBezTo>
                <a:cubicBezTo>
                  <a:pt x="4671996" y="2975358"/>
                  <a:pt x="4671996" y="3021894"/>
                  <a:pt x="4671996" y="3068437"/>
                </a:cubicBezTo>
                <a:cubicBezTo>
                  <a:pt x="4674946" y="3069499"/>
                  <a:pt x="4677902" y="3070562"/>
                  <a:pt x="4681599" y="3071891"/>
                </a:cubicBezTo>
                <a:cubicBezTo>
                  <a:pt x="4681599" y="3074150"/>
                  <a:pt x="4681599" y="3076950"/>
                  <a:pt x="4681599" y="3079742"/>
                </a:cubicBezTo>
                <a:lnTo>
                  <a:pt x="4681532" y="3425829"/>
                </a:lnTo>
                <a:lnTo>
                  <a:pt x="0" y="3425829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01B8DF7D-187D-4366-AAFF-1729A720A270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712602" y="2305552"/>
            <a:ext cx="2803684" cy="3736569"/>
          </a:xfrm>
          <a:custGeom>
            <a:avLst/>
            <a:gdLst>
              <a:gd name="connsiteX0" fmla="*/ 50578 w 2803684"/>
              <a:gd name="connsiteY0" fmla="*/ 0 h 3736569"/>
              <a:gd name="connsiteX1" fmla="*/ 2753106 w 2803684"/>
              <a:gd name="connsiteY1" fmla="*/ 0 h 3736569"/>
              <a:gd name="connsiteX2" fmla="*/ 2803684 w 2803684"/>
              <a:gd name="connsiteY2" fmla="*/ 50578 h 3736569"/>
              <a:gd name="connsiteX3" fmla="*/ 2803684 w 2803684"/>
              <a:gd name="connsiteY3" fmla="*/ 3685991 h 3736569"/>
              <a:gd name="connsiteX4" fmla="*/ 2753106 w 2803684"/>
              <a:gd name="connsiteY4" fmla="*/ 3736569 h 3736569"/>
              <a:gd name="connsiteX5" fmla="*/ 162509 w 2803684"/>
              <a:gd name="connsiteY5" fmla="*/ 3736569 h 3736569"/>
              <a:gd name="connsiteX6" fmla="*/ 162509 w 2803684"/>
              <a:gd name="connsiteY6" fmla="*/ 2607094 h 3736569"/>
              <a:gd name="connsiteX7" fmla="*/ 162509 w 2803684"/>
              <a:gd name="connsiteY7" fmla="*/ 2598290 h 3736569"/>
              <a:gd name="connsiteX8" fmla="*/ 163607 w 2803684"/>
              <a:gd name="connsiteY8" fmla="*/ 2597173 h 3736569"/>
              <a:gd name="connsiteX9" fmla="*/ 170921 w 2803684"/>
              <a:gd name="connsiteY9" fmla="*/ 2588040 h 3736569"/>
              <a:gd name="connsiteX10" fmla="*/ 170921 w 2803684"/>
              <a:gd name="connsiteY10" fmla="*/ 2317324 h 3736569"/>
              <a:gd name="connsiteX11" fmla="*/ 162502 w 2803684"/>
              <a:gd name="connsiteY11" fmla="*/ 2307008 h 3736569"/>
              <a:gd name="connsiteX12" fmla="*/ 162502 w 2803684"/>
              <a:gd name="connsiteY12" fmla="*/ 2299369 h 3736569"/>
              <a:gd name="connsiteX13" fmla="*/ 162435 w 2803684"/>
              <a:gd name="connsiteY13" fmla="*/ 1976451 h 3736569"/>
              <a:gd name="connsiteX14" fmla="*/ 116232 w 2803684"/>
              <a:gd name="connsiteY14" fmla="*/ 1866480 h 3736569"/>
              <a:gd name="connsiteX15" fmla="*/ 10999 w 2803684"/>
              <a:gd name="connsiteY15" fmla="*/ 1822020 h 3736569"/>
              <a:gd name="connsiteX16" fmla="*/ 4935 w 2803684"/>
              <a:gd name="connsiteY16" fmla="*/ 1821977 h 3736569"/>
              <a:gd name="connsiteX17" fmla="*/ 0 w 2803684"/>
              <a:gd name="connsiteY17" fmla="*/ 1821977 h 3736569"/>
              <a:gd name="connsiteX18" fmla="*/ 0 w 2803684"/>
              <a:gd name="connsiteY18" fmla="*/ 50578 h 3736569"/>
              <a:gd name="connsiteX19" fmla="*/ 50578 w 2803684"/>
              <a:gd name="connsiteY19" fmla="*/ 0 h 37365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2803684" h="3736569">
                <a:moveTo>
                  <a:pt x="50578" y="0"/>
                </a:moveTo>
                <a:lnTo>
                  <a:pt x="2753106" y="0"/>
                </a:lnTo>
                <a:cubicBezTo>
                  <a:pt x="2781039" y="0"/>
                  <a:pt x="2803684" y="22645"/>
                  <a:pt x="2803684" y="50578"/>
                </a:cubicBezTo>
                <a:lnTo>
                  <a:pt x="2803684" y="3685991"/>
                </a:lnTo>
                <a:cubicBezTo>
                  <a:pt x="2803684" y="3713924"/>
                  <a:pt x="2781039" y="3736569"/>
                  <a:pt x="2753106" y="3736569"/>
                </a:cubicBezTo>
                <a:lnTo>
                  <a:pt x="162509" y="3736569"/>
                </a:lnTo>
                <a:lnTo>
                  <a:pt x="162509" y="2607094"/>
                </a:lnTo>
                <a:cubicBezTo>
                  <a:pt x="162509" y="2604064"/>
                  <a:pt x="162509" y="2601040"/>
                  <a:pt x="162509" y="2598290"/>
                </a:cubicBezTo>
                <a:cubicBezTo>
                  <a:pt x="163048" y="2597719"/>
                  <a:pt x="163279" y="2597252"/>
                  <a:pt x="163607" y="2597173"/>
                </a:cubicBezTo>
                <a:cubicBezTo>
                  <a:pt x="170903" y="2595448"/>
                  <a:pt x="170921" y="2595460"/>
                  <a:pt x="170921" y="2588040"/>
                </a:cubicBezTo>
                <a:cubicBezTo>
                  <a:pt x="170927" y="2497804"/>
                  <a:pt x="170921" y="2407560"/>
                  <a:pt x="170921" y="2317324"/>
                </a:cubicBezTo>
                <a:cubicBezTo>
                  <a:pt x="170921" y="2309230"/>
                  <a:pt x="170909" y="2309230"/>
                  <a:pt x="162502" y="2307008"/>
                </a:cubicBezTo>
                <a:cubicBezTo>
                  <a:pt x="162502" y="2304560"/>
                  <a:pt x="162502" y="2301961"/>
                  <a:pt x="162502" y="2299369"/>
                </a:cubicBezTo>
                <a:cubicBezTo>
                  <a:pt x="162496" y="2191729"/>
                  <a:pt x="162624" y="2084090"/>
                  <a:pt x="162435" y="1976451"/>
                </a:cubicBezTo>
                <a:cubicBezTo>
                  <a:pt x="162363" y="1933485"/>
                  <a:pt x="146733" y="1896621"/>
                  <a:pt x="116232" y="1866480"/>
                </a:cubicBezTo>
                <a:cubicBezTo>
                  <a:pt x="87181" y="1837771"/>
                  <a:pt x="51752" y="1823380"/>
                  <a:pt x="10999" y="1822020"/>
                </a:cubicBezTo>
                <a:cubicBezTo>
                  <a:pt x="8978" y="1821953"/>
                  <a:pt x="6957" y="1821977"/>
                  <a:pt x="4935" y="1821977"/>
                </a:cubicBezTo>
                <a:lnTo>
                  <a:pt x="0" y="1821977"/>
                </a:lnTo>
                <a:lnTo>
                  <a:pt x="0" y="50578"/>
                </a:lnTo>
                <a:cubicBezTo>
                  <a:pt x="0" y="22645"/>
                  <a:pt x="22645" y="0"/>
                  <a:pt x="50578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pic>
        <p:nvPicPr>
          <p:cNvPr id="20" name="Grafik 19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7520ED33-6FFC-499F-AF20-DFC3D141147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21937" y="4121602"/>
            <a:ext cx="1750019" cy="2711314"/>
          </a:xfrm>
          <a:prstGeom prst="rect">
            <a:avLst/>
          </a:prstGeom>
        </p:spPr>
      </p:pic>
      <p:sp>
        <p:nvSpPr>
          <p:cNvPr id="26" name="Bildplatzhalter 47">
            <a:extLst>
              <a:ext uri="{FF2B5EF4-FFF2-40B4-BE49-F238E27FC236}">
                <a16:creationId xmlns:a16="http://schemas.microsoft.com/office/drawing/2014/main" id="{E0128E7F-A8D7-4916-93FD-7AB5101C9FD0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6849328" y="4185544"/>
            <a:ext cx="966123" cy="2086238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 sz="1000"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15" name="Untertitel 2">
            <a:extLst>
              <a:ext uri="{FF2B5EF4-FFF2-40B4-BE49-F238E27FC236}">
                <a16:creationId xmlns:a16="http://schemas.microsoft.com/office/drawing/2014/main" id="{0A61A0E5-CD93-4E9C-8F85-745F3E5C0DF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263149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Bilder Inhal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496294BF-D3D0-4802-AC90-6B34E21A471A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2C40E76C-945F-4CFF-AF64-9F4AFBE031EE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DC92EF49-6770-4821-85BD-6B58BC2A37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F36EF048-6182-46E6-8FD1-9B53FFDF399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D131AAE3-7275-45DF-A769-EAF56E6801CA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5E1A07C7-D4A9-4D9C-BF1E-2F347913A4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8">
                <a:extLst>
                  <a:ext uri="{FF2B5EF4-FFF2-40B4-BE49-F238E27FC236}">
                    <a16:creationId xmlns:a16="http://schemas.microsoft.com/office/drawing/2014/main" id="{5FE140FB-ECB4-439D-BF7A-348D7592C41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9">
                <a:extLst>
                  <a:ext uri="{FF2B5EF4-FFF2-40B4-BE49-F238E27FC236}">
                    <a16:creationId xmlns:a16="http://schemas.microsoft.com/office/drawing/2014/main" id="{4AD64196-CF34-4AD0-A16E-5539B10016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0">
                <a:extLst>
                  <a:ext uri="{FF2B5EF4-FFF2-40B4-BE49-F238E27FC236}">
                    <a16:creationId xmlns:a16="http://schemas.microsoft.com/office/drawing/2014/main" id="{F414E838-E68E-4F8F-9508-065C7A4E81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1">
                <a:extLst>
                  <a:ext uri="{FF2B5EF4-FFF2-40B4-BE49-F238E27FC236}">
                    <a16:creationId xmlns:a16="http://schemas.microsoft.com/office/drawing/2014/main" id="{50B37B52-58A7-4290-B58A-6D0AD767A2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9" name="Freeform 12">
                <a:extLst>
                  <a:ext uri="{FF2B5EF4-FFF2-40B4-BE49-F238E27FC236}">
                    <a16:creationId xmlns:a16="http://schemas.microsoft.com/office/drawing/2014/main" id="{09B8253D-2FF1-4631-B01A-1BB370558AE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3">
                <a:extLst>
                  <a:ext uri="{FF2B5EF4-FFF2-40B4-BE49-F238E27FC236}">
                    <a16:creationId xmlns:a16="http://schemas.microsoft.com/office/drawing/2014/main" id="{A56A50CE-D116-4E3D-9F9C-6B4A7A9BD1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4">
                <a:extLst>
                  <a:ext uri="{FF2B5EF4-FFF2-40B4-BE49-F238E27FC236}">
                    <a16:creationId xmlns:a16="http://schemas.microsoft.com/office/drawing/2014/main" id="{1E1E3BA3-3D65-4AEE-89A2-7A24EE545D5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5">
                <a:extLst>
                  <a:ext uri="{FF2B5EF4-FFF2-40B4-BE49-F238E27FC236}">
                    <a16:creationId xmlns:a16="http://schemas.microsoft.com/office/drawing/2014/main" id="{CEBC7267-459F-46CB-9686-DC9EC33EA1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6">
                <a:extLst>
                  <a:ext uri="{FF2B5EF4-FFF2-40B4-BE49-F238E27FC236}">
                    <a16:creationId xmlns:a16="http://schemas.microsoft.com/office/drawing/2014/main" id="{FB993FA4-CFC5-4837-A96F-50FD90CAC3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487488" y="1592263"/>
            <a:ext cx="3821114" cy="2960687"/>
          </a:xfrm>
          <a:prstGeom prst="round2SameRect">
            <a:avLst>
              <a:gd name="adj1" fmla="val 10554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1" name="Bildplatzhalter 40">
            <a:extLst>
              <a:ext uri="{FF2B5EF4-FFF2-40B4-BE49-F238E27FC236}">
                <a16:creationId xmlns:a16="http://schemas.microsoft.com/office/drawing/2014/main" id="{1E250036-7D62-4114-A92A-3112FF8860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6883399" y="1592263"/>
            <a:ext cx="3821114" cy="2960687"/>
          </a:xfrm>
          <a:prstGeom prst="round2SameRect">
            <a:avLst>
              <a:gd name="adj1" fmla="val 10554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9AEC450-8DAE-4E70-AD4D-356D0443C963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 algn="r"/>
            <a:fld id="{4D482870-33C8-4533-BB22-62DDA8478E35}" type="datetime1">
              <a:rPr lang="de-DE" smtClean="0"/>
              <a:t>2022-01-1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E236985-8E22-4FFB-AFEF-C6A5AC20472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72AF24B-2DDF-4827-A36F-31975804BAE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7" name="Textplatzhalter 5">
            <a:extLst>
              <a:ext uri="{FF2B5EF4-FFF2-40B4-BE49-F238E27FC236}">
                <a16:creationId xmlns:a16="http://schemas.microsoft.com/office/drawing/2014/main" id="{847B9E13-3744-40A3-A85C-84015DF9DFA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487488" y="4853032"/>
            <a:ext cx="3821114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1</a:t>
            </a:r>
          </a:p>
        </p:txBody>
      </p:sp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AE328B77-E9BB-42BD-AEA3-064C0C6E30D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883399" y="4853032"/>
            <a:ext cx="3821114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2</a:t>
            </a:r>
          </a:p>
        </p:txBody>
      </p:sp>
      <p:sp>
        <p:nvSpPr>
          <p:cNvPr id="14" name="Textplatzhalter 28">
            <a:extLst>
              <a:ext uri="{FF2B5EF4-FFF2-40B4-BE49-F238E27FC236}">
                <a16:creationId xmlns:a16="http://schemas.microsoft.com/office/drawing/2014/main" id="{6B8CED60-7D19-4349-BF76-DCB0CAE8F172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1487488" y="5265738"/>
            <a:ext cx="3821114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platzhalter 28">
            <a:extLst>
              <a:ext uri="{FF2B5EF4-FFF2-40B4-BE49-F238E27FC236}">
                <a16:creationId xmlns:a16="http://schemas.microsoft.com/office/drawing/2014/main" id="{B349CDDB-B0BE-4223-93D7-5E44317803C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883399" y="5265738"/>
            <a:ext cx="3821114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4" name="Untertitel 2">
            <a:extLst>
              <a:ext uri="{FF2B5EF4-FFF2-40B4-BE49-F238E27FC236}">
                <a16:creationId xmlns:a16="http://schemas.microsoft.com/office/drawing/2014/main" id="{F56DF26D-3437-4499-97B1-2CC299E31D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888013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lder Inhal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FD7AA177-9107-4D8D-9F97-1CDC2E86A4A7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2B4F717E-0C12-479E-8553-1DE225BA4CE3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7" name="Oval 5">
              <a:extLst>
                <a:ext uri="{FF2B5EF4-FFF2-40B4-BE49-F238E27FC236}">
                  <a16:creationId xmlns:a16="http://schemas.microsoft.com/office/drawing/2014/main" id="{F5645894-B5F9-45B1-A40B-B3AD39B1C7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8" name="Freeform 6">
              <a:extLst>
                <a:ext uri="{FF2B5EF4-FFF2-40B4-BE49-F238E27FC236}">
                  <a16:creationId xmlns:a16="http://schemas.microsoft.com/office/drawing/2014/main" id="{C8E2313B-3F49-4183-945F-97BA2EC06B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9" name="Gruppieren 28">
              <a:extLst>
                <a:ext uri="{FF2B5EF4-FFF2-40B4-BE49-F238E27FC236}">
                  <a16:creationId xmlns:a16="http://schemas.microsoft.com/office/drawing/2014/main" id="{3B6A391F-4FE1-47A0-B9BE-2920F1ED3D1C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30" name="Freeform 7">
                <a:extLst>
                  <a:ext uri="{FF2B5EF4-FFF2-40B4-BE49-F238E27FC236}">
                    <a16:creationId xmlns:a16="http://schemas.microsoft.com/office/drawing/2014/main" id="{26127AE2-ABCB-4715-985A-7CA177F904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8">
                <a:extLst>
                  <a:ext uri="{FF2B5EF4-FFF2-40B4-BE49-F238E27FC236}">
                    <a16:creationId xmlns:a16="http://schemas.microsoft.com/office/drawing/2014/main" id="{47B751FB-ED4E-40F8-B3E1-8245EB4CB92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9">
                <a:extLst>
                  <a:ext uri="{FF2B5EF4-FFF2-40B4-BE49-F238E27FC236}">
                    <a16:creationId xmlns:a16="http://schemas.microsoft.com/office/drawing/2014/main" id="{202E4F70-0E90-4670-9460-1C780E817E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0">
                <a:extLst>
                  <a:ext uri="{FF2B5EF4-FFF2-40B4-BE49-F238E27FC236}">
                    <a16:creationId xmlns:a16="http://schemas.microsoft.com/office/drawing/2014/main" id="{E5FDADB1-A503-4639-9E3B-1381DFE4D7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1">
                <a:extLst>
                  <a:ext uri="{FF2B5EF4-FFF2-40B4-BE49-F238E27FC236}">
                    <a16:creationId xmlns:a16="http://schemas.microsoft.com/office/drawing/2014/main" id="{33443494-539D-49EE-9E6B-5E23AD7F81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12">
                <a:extLst>
                  <a:ext uri="{FF2B5EF4-FFF2-40B4-BE49-F238E27FC236}">
                    <a16:creationId xmlns:a16="http://schemas.microsoft.com/office/drawing/2014/main" id="{30065938-87C5-41B9-BA6F-8CFD0951766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3">
                <a:extLst>
                  <a:ext uri="{FF2B5EF4-FFF2-40B4-BE49-F238E27FC236}">
                    <a16:creationId xmlns:a16="http://schemas.microsoft.com/office/drawing/2014/main" id="{FC291407-C501-454B-A8EE-7CAC0EBF29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4">
                <a:extLst>
                  <a:ext uri="{FF2B5EF4-FFF2-40B4-BE49-F238E27FC236}">
                    <a16:creationId xmlns:a16="http://schemas.microsoft.com/office/drawing/2014/main" id="{95E6D4F2-3255-40E5-A13F-91246F7BCE2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5">
                <a:extLst>
                  <a:ext uri="{FF2B5EF4-FFF2-40B4-BE49-F238E27FC236}">
                    <a16:creationId xmlns:a16="http://schemas.microsoft.com/office/drawing/2014/main" id="{444BCF27-B343-42A9-9DCA-E33BAC3C23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6">
                <a:extLst>
                  <a:ext uri="{FF2B5EF4-FFF2-40B4-BE49-F238E27FC236}">
                    <a16:creationId xmlns:a16="http://schemas.microsoft.com/office/drawing/2014/main" id="{3CC4F76B-36A1-4B25-9B0A-2D354D2305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762000" y="1592263"/>
            <a:ext cx="3025775" cy="2960687"/>
          </a:xfrm>
          <a:custGeom>
            <a:avLst/>
            <a:gdLst>
              <a:gd name="connsiteX0" fmla="*/ 309333 w 3025775"/>
              <a:gd name="connsiteY0" fmla="*/ 0 h 2960687"/>
              <a:gd name="connsiteX1" fmla="*/ 2716442 w 3025775"/>
              <a:gd name="connsiteY1" fmla="*/ 0 h 2960687"/>
              <a:gd name="connsiteX2" fmla="*/ 3025775 w 3025775"/>
              <a:gd name="connsiteY2" fmla="*/ 309333 h 2960687"/>
              <a:gd name="connsiteX3" fmla="*/ 3025775 w 3025775"/>
              <a:gd name="connsiteY3" fmla="*/ 2960687 h 2960687"/>
              <a:gd name="connsiteX4" fmla="*/ 0 w 3025775"/>
              <a:gd name="connsiteY4" fmla="*/ 2960687 h 2960687"/>
              <a:gd name="connsiteX5" fmla="*/ 0 w 3025775"/>
              <a:gd name="connsiteY5" fmla="*/ 309333 h 2960687"/>
              <a:gd name="connsiteX6" fmla="*/ 309333 w 3025775"/>
              <a:gd name="connsiteY6" fmla="*/ 0 h 2960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25775" h="2960687">
                <a:moveTo>
                  <a:pt x="309333" y="0"/>
                </a:moveTo>
                <a:lnTo>
                  <a:pt x="2716442" y="0"/>
                </a:lnTo>
                <a:cubicBezTo>
                  <a:pt x="2887282" y="0"/>
                  <a:pt x="3025775" y="138493"/>
                  <a:pt x="3025775" y="309333"/>
                </a:cubicBezTo>
                <a:lnTo>
                  <a:pt x="3025775" y="2960687"/>
                </a:lnTo>
                <a:lnTo>
                  <a:pt x="0" y="2960687"/>
                </a:lnTo>
                <a:lnTo>
                  <a:pt x="0" y="309333"/>
                </a:lnTo>
                <a:cubicBezTo>
                  <a:pt x="0" y="138493"/>
                  <a:pt x="138493" y="0"/>
                  <a:pt x="309333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F93A7B41-6D62-4864-8FFA-1765074A406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4583112" y="1592263"/>
            <a:ext cx="3025775" cy="2960687"/>
          </a:xfrm>
          <a:custGeom>
            <a:avLst/>
            <a:gdLst>
              <a:gd name="connsiteX0" fmla="*/ 309333 w 3025775"/>
              <a:gd name="connsiteY0" fmla="*/ 0 h 2960687"/>
              <a:gd name="connsiteX1" fmla="*/ 2716442 w 3025775"/>
              <a:gd name="connsiteY1" fmla="*/ 0 h 2960687"/>
              <a:gd name="connsiteX2" fmla="*/ 3025775 w 3025775"/>
              <a:gd name="connsiteY2" fmla="*/ 309333 h 2960687"/>
              <a:gd name="connsiteX3" fmla="*/ 3025775 w 3025775"/>
              <a:gd name="connsiteY3" fmla="*/ 2960687 h 2960687"/>
              <a:gd name="connsiteX4" fmla="*/ 0 w 3025775"/>
              <a:gd name="connsiteY4" fmla="*/ 2960687 h 2960687"/>
              <a:gd name="connsiteX5" fmla="*/ 0 w 3025775"/>
              <a:gd name="connsiteY5" fmla="*/ 309333 h 2960687"/>
              <a:gd name="connsiteX6" fmla="*/ 309333 w 3025775"/>
              <a:gd name="connsiteY6" fmla="*/ 0 h 2960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25775" h="2960687">
                <a:moveTo>
                  <a:pt x="309333" y="0"/>
                </a:moveTo>
                <a:lnTo>
                  <a:pt x="2716442" y="0"/>
                </a:lnTo>
                <a:cubicBezTo>
                  <a:pt x="2887282" y="0"/>
                  <a:pt x="3025775" y="138493"/>
                  <a:pt x="3025775" y="309333"/>
                </a:cubicBezTo>
                <a:lnTo>
                  <a:pt x="3025775" y="2960687"/>
                </a:lnTo>
                <a:lnTo>
                  <a:pt x="0" y="2960687"/>
                </a:lnTo>
                <a:lnTo>
                  <a:pt x="0" y="309333"/>
                </a:lnTo>
                <a:cubicBezTo>
                  <a:pt x="0" y="138493"/>
                  <a:pt x="138493" y="0"/>
                  <a:pt x="309333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2" name="Bildplatzhalter 21">
            <a:extLst>
              <a:ext uri="{FF2B5EF4-FFF2-40B4-BE49-F238E27FC236}">
                <a16:creationId xmlns:a16="http://schemas.microsoft.com/office/drawing/2014/main" id="{F8EA52FF-4D6F-4786-948F-F5BBA46C445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8401050" y="1592263"/>
            <a:ext cx="3025775" cy="2960687"/>
          </a:xfrm>
          <a:custGeom>
            <a:avLst/>
            <a:gdLst>
              <a:gd name="connsiteX0" fmla="*/ 309333 w 3025775"/>
              <a:gd name="connsiteY0" fmla="*/ 0 h 2960687"/>
              <a:gd name="connsiteX1" fmla="*/ 2716442 w 3025775"/>
              <a:gd name="connsiteY1" fmla="*/ 0 h 2960687"/>
              <a:gd name="connsiteX2" fmla="*/ 3025775 w 3025775"/>
              <a:gd name="connsiteY2" fmla="*/ 309333 h 2960687"/>
              <a:gd name="connsiteX3" fmla="*/ 3025775 w 3025775"/>
              <a:gd name="connsiteY3" fmla="*/ 2960687 h 2960687"/>
              <a:gd name="connsiteX4" fmla="*/ 0 w 3025775"/>
              <a:gd name="connsiteY4" fmla="*/ 2960687 h 2960687"/>
              <a:gd name="connsiteX5" fmla="*/ 0 w 3025775"/>
              <a:gd name="connsiteY5" fmla="*/ 309333 h 2960687"/>
              <a:gd name="connsiteX6" fmla="*/ 309333 w 3025775"/>
              <a:gd name="connsiteY6" fmla="*/ 0 h 2960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25775" h="2960687">
                <a:moveTo>
                  <a:pt x="309333" y="0"/>
                </a:moveTo>
                <a:lnTo>
                  <a:pt x="2716442" y="0"/>
                </a:lnTo>
                <a:cubicBezTo>
                  <a:pt x="2887282" y="0"/>
                  <a:pt x="3025775" y="138493"/>
                  <a:pt x="3025775" y="309333"/>
                </a:cubicBezTo>
                <a:lnTo>
                  <a:pt x="3025775" y="2960687"/>
                </a:lnTo>
                <a:lnTo>
                  <a:pt x="0" y="2960687"/>
                </a:lnTo>
                <a:lnTo>
                  <a:pt x="0" y="309333"/>
                </a:lnTo>
                <a:cubicBezTo>
                  <a:pt x="0" y="138493"/>
                  <a:pt x="138493" y="0"/>
                  <a:pt x="309333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25FF0B9-EDF2-4882-8704-4545C832A928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 algn="r"/>
            <a:fld id="{585D075C-6FF8-48E6-AC4D-C6B0CF0896DD}" type="datetime1">
              <a:rPr lang="de-DE" smtClean="0"/>
              <a:t>2022-01-1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C8D8104-D8B2-4D95-A5F6-12F39DCDEF9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29D6E93-7F18-4FF1-9F28-312A4EDB5789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BFF5B44-121A-4367-B6E2-03918ADA9A5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62000" y="4853032"/>
            <a:ext cx="302577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16" name="Textplatzhalter 8">
            <a:extLst>
              <a:ext uri="{FF2B5EF4-FFF2-40B4-BE49-F238E27FC236}">
                <a16:creationId xmlns:a16="http://schemas.microsoft.com/office/drawing/2014/main" id="{00AAE0B7-896C-497B-B63C-A6AFD3696A2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583112" y="4853032"/>
            <a:ext cx="302577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17" name="Textplatzhalter 8">
            <a:extLst>
              <a:ext uri="{FF2B5EF4-FFF2-40B4-BE49-F238E27FC236}">
                <a16:creationId xmlns:a16="http://schemas.microsoft.com/office/drawing/2014/main" id="{FFA68F9C-9D74-44BD-A0C6-ABA5E620C98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01050" y="4853032"/>
            <a:ext cx="302577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18" name="Textplatzhalter 28">
            <a:extLst>
              <a:ext uri="{FF2B5EF4-FFF2-40B4-BE49-F238E27FC236}">
                <a16:creationId xmlns:a16="http://schemas.microsoft.com/office/drawing/2014/main" id="{3D06BD6F-9548-4E4A-9622-73B7940AF3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62000" y="5265738"/>
            <a:ext cx="302577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Textplatzhalter 28">
            <a:extLst>
              <a:ext uri="{FF2B5EF4-FFF2-40B4-BE49-F238E27FC236}">
                <a16:creationId xmlns:a16="http://schemas.microsoft.com/office/drawing/2014/main" id="{92F70558-BDEB-4EDA-96DC-F9F377A901CF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583112" y="5265738"/>
            <a:ext cx="302577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Textplatzhalter 28">
            <a:extLst>
              <a:ext uri="{FF2B5EF4-FFF2-40B4-BE49-F238E27FC236}">
                <a16:creationId xmlns:a16="http://schemas.microsoft.com/office/drawing/2014/main" id="{A4EEBFB5-31AF-44B0-B449-C6569322919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401050" y="5265738"/>
            <a:ext cx="302577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0" name="Untertitel 2">
            <a:extLst>
              <a:ext uri="{FF2B5EF4-FFF2-40B4-BE49-F238E27FC236}">
                <a16:creationId xmlns:a16="http://schemas.microsoft.com/office/drawing/2014/main" id="{5D423A01-7715-4A1C-80A5-6BF82C7D12C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307561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Bilder Inhal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7E8CB8E4-FB84-4648-8735-CB7CC4E6C6DE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56" name="Bildplatzhalter 55">
            <a:extLst>
              <a:ext uri="{FF2B5EF4-FFF2-40B4-BE49-F238E27FC236}">
                <a16:creationId xmlns:a16="http://schemas.microsoft.com/office/drawing/2014/main" id="{932A7BA9-B4F2-49DF-B582-09CAD348014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762001" y="1592264"/>
            <a:ext cx="2228034" cy="2960686"/>
          </a:xfrm>
          <a:custGeom>
            <a:avLst/>
            <a:gdLst>
              <a:gd name="connsiteX0" fmla="*/ 316581 w 2228034"/>
              <a:gd name="connsiteY0" fmla="*/ 0 h 2960686"/>
              <a:gd name="connsiteX1" fmla="*/ 1911454 w 2228034"/>
              <a:gd name="connsiteY1" fmla="*/ 0 h 2960686"/>
              <a:gd name="connsiteX2" fmla="*/ 2221603 w 2228034"/>
              <a:gd name="connsiteY2" fmla="*/ 252779 h 2960686"/>
              <a:gd name="connsiteX3" fmla="*/ 2228034 w 2228034"/>
              <a:gd name="connsiteY3" fmla="*/ 316571 h 2960686"/>
              <a:gd name="connsiteX4" fmla="*/ 2228034 w 2228034"/>
              <a:gd name="connsiteY4" fmla="*/ 2960686 h 2960686"/>
              <a:gd name="connsiteX5" fmla="*/ 0 w 2228034"/>
              <a:gd name="connsiteY5" fmla="*/ 2960686 h 2960686"/>
              <a:gd name="connsiteX6" fmla="*/ 0 w 2228034"/>
              <a:gd name="connsiteY6" fmla="*/ 2644106 h 2960686"/>
              <a:gd name="connsiteX7" fmla="*/ 0 w 2228034"/>
              <a:gd name="connsiteY7" fmla="*/ 1760537 h 2960686"/>
              <a:gd name="connsiteX8" fmla="*/ 0 w 2228034"/>
              <a:gd name="connsiteY8" fmla="*/ 316581 h 2960686"/>
              <a:gd name="connsiteX9" fmla="*/ 316581 w 2228034"/>
              <a:gd name="connsiteY9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28034" h="2960686">
                <a:moveTo>
                  <a:pt x="316581" y="0"/>
                </a:moveTo>
                <a:lnTo>
                  <a:pt x="1911454" y="0"/>
                </a:lnTo>
                <a:cubicBezTo>
                  <a:pt x="2064442" y="0"/>
                  <a:pt x="2192083" y="108518"/>
                  <a:pt x="2221603" y="252779"/>
                </a:cubicBezTo>
                <a:lnTo>
                  <a:pt x="2228034" y="316571"/>
                </a:lnTo>
                <a:lnTo>
                  <a:pt x="2228034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FABE9D84-609D-4A0B-9FE3-6E2E3C22590F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7" name="Oval 5">
              <a:extLst>
                <a:ext uri="{FF2B5EF4-FFF2-40B4-BE49-F238E27FC236}">
                  <a16:creationId xmlns:a16="http://schemas.microsoft.com/office/drawing/2014/main" id="{8AB12F9D-2FCF-463F-8048-C6B1518CAC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8" name="Freeform 6">
              <a:extLst>
                <a:ext uri="{FF2B5EF4-FFF2-40B4-BE49-F238E27FC236}">
                  <a16:creationId xmlns:a16="http://schemas.microsoft.com/office/drawing/2014/main" id="{FB2B76A1-114C-433B-8012-C92676EEF8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F0EA9399-9BE8-41AF-8045-D0420265E7A7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37" name="Freeform 7">
                <a:extLst>
                  <a:ext uri="{FF2B5EF4-FFF2-40B4-BE49-F238E27FC236}">
                    <a16:creationId xmlns:a16="http://schemas.microsoft.com/office/drawing/2014/main" id="{C0705B63-CDD9-4B98-BBB9-129890734C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8">
                <a:extLst>
                  <a:ext uri="{FF2B5EF4-FFF2-40B4-BE49-F238E27FC236}">
                    <a16:creationId xmlns:a16="http://schemas.microsoft.com/office/drawing/2014/main" id="{37873C95-B4B9-4D3F-8F2B-1F7E9CDD8D9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9">
                <a:extLst>
                  <a:ext uri="{FF2B5EF4-FFF2-40B4-BE49-F238E27FC236}">
                    <a16:creationId xmlns:a16="http://schemas.microsoft.com/office/drawing/2014/main" id="{DEDCFF11-F37C-4A97-9525-49EC385828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0">
                <a:extLst>
                  <a:ext uri="{FF2B5EF4-FFF2-40B4-BE49-F238E27FC236}">
                    <a16:creationId xmlns:a16="http://schemas.microsoft.com/office/drawing/2014/main" id="{FA6D5E4F-AB2E-44B6-B403-C2E671EBA2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1">
                <a:extLst>
                  <a:ext uri="{FF2B5EF4-FFF2-40B4-BE49-F238E27FC236}">
                    <a16:creationId xmlns:a16="http://schemas.microsoft.com/office/drawing/2014/main" id="{9A77CCC4-C472-4018-B101-78E437AADF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2">
                <a:extLst>
                  <a:ext uri="{FF2B5EF4-FFF2-40B4-BE49-F238E27FC236}">
                    <a16:creationId xmlns:a16="http://schemas.microsoft.com/office/drawing/2014/main" id="{101B07C3-A05E-4452-95C3-A224310903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3" name="Freeform 13">
                <a:extLst>
                  <a:ext uri="{FF2B5EF4-FFF2-40B4-BE49-F238E27FC236}">
                    <a16:creationId xmlns:a16="http://schemas.microsoft.com/office/drawing/2014/main" id="{BD34AE42-2F7D-497A-BC97-5CBC48123F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4" name="Freeform 14">
                <a:extLst>
                  <a:ext uri="{FF2B5EF4-FFF2-40B4-BE49-F238E27FC236}">
                    <a16:creationId xmlns:a16="http://schemas.microsoft.com/office/drawing/2014/main" id="{DAA2AC69-85F7-4098-89C0-B43D8A77CA7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5" name="Freeform 15">
                <a:extLst>
                  <a:ext uri="{FF2B5EF4-FFF2-40B4-BE49-F238E27FC236}">
                    <a16:creationId xmlns:a16="http://schemas.microsoft.com/office/drawing/2014/main" id="{F3A06AD5-31F8-4D18-8639-A476D2C033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6" name="Freeform 16">
                <a:extLst>
                  <a:ext uri="{FF2B5EF4-FFF2-40B4-BE49-F238E27FC236}">
                    <a16:creationId xmlns:a16="http://schemas.microsoft.com/office/drawing/2014/main" id="{6AF5945C-C038-4B9C-9AC1-783433F96C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63" name="Bildplatzhalter 62">
            <a:extLst>
              <a:ext uri="{FF2B5EF4-FFF2-40B4-BE49-F238E27FC236}">
                <a16:creationId xmlns:a16="http://schemas.microsoft.com/office/drawing/2014/main" id="{581CE1A1-72E0-42D8-8BD1-73E34C8DA5EA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9197202" y="1592264"/>
            <a:ext cx="2228035" cy="2960686"/>
          </a:xfrm>
          <a:custGeom>
            <a:avLst/>
            <a:gdLst>
              <a:gd name="connsiteX0" fmla="*/ 316581 w 2228035"/>
              <a:gd name="connsiteY0" fmla="*/ 0 h 2960686"/>
              <a:gd name="connsiteX1" fmla="*/ 1911454 w 2228035"/>
              <a:gd name="connsiteY1" fmla="*/ 0 h 2960686"/>
              <a:gd name="connsiteX2" fmla="*/ 2228035 w 2228035"/>
              <a:gd name="connsiteY2" fmla="*/ 316581 h 2960686"/>
              <a:gd name="connsiteX3" fmla="*/ 2228035 w 2228035"/>
              <a:gd name="connsiteY3" fmla="*/ 1760537 h 2960686"/>
              <a:gd name="connsiteX4" fmla="*/ 2228035 w 2228035"/>
              <a:gd name="connsiteY4" fmla="*/ 2644106 h 2960686"/>
              <a:gd name="connsiteX5" fmla="*/ 2228035 w 2228035"/>
              <a:gd name="connsiteY5" fmla="*/ 2960686 h 2960686"/>
              <a:gd name="connsiteX6" fmla="*/ 0 w 2228035"/>
              <a:gd name="connsiteY6" fmla="*/ 2960686 h 2960686"/>
              <a:gd name="connsiteX7" fmla="*/ 0 w 2228035"/>
              <a:gd name="connsiteY7" fmla="*/ 2644106 h 2960686"/>
              <a:gd name="connsiteX8" fmla="*/ 0 w 2228035"/>
              <a:gd name="connsiteY8" fmla="*/ 1760537 h 2960686"/>
              <a:gd name="connsiteX9" fmla="*/ 0 w 2228035"/>
              <a:gd name="connsiteY9" fmla="*/ 316581 h 2960686"/>
              <a:gd name="connsiteX10" fmla="*/ 316581 w 2228035"/>
              <a:gd name="connsiteY10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28035" h="2960686">
                <a:moveTo>
                  <a:pt x="316581" y="0"/>
                </a:moveTo>
                <a:lnTo>
                  <a:pt x="1911454" y="0"/>
                </a:lnTo>
                <a:cubicBezTo>
                  <a:pt x="2086297" y="0"/>
                  <a:pt x="2228035" y="141738"/>
                  <a:pt x="2228035" y="316581"/>
                </a:cubicBezTo>
                <a:lnTo>
                  <a:pt x="2228035" y="1760537"/>
                </a:lnTo>
                <a:lnTo>
                  <a:pt x="2228035" y="2644106"/>
                </a:lnTo>
                <a:lnTo>
                  <a:pt x="2228035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61" name="Bildplatzhalter 60">
            <a:extLst>
              <a:ext uri="{FF2B5EF4-FFF2-40B4-BE49-F238E27FC236}">
                <a16:creationId xmlns:a16="http://schemas.microsoft.com/office/drawing/2014/main" id="{D41B6DFA-DE64-41E3-BFBB-200F332BBB38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3575682" y="1592264"/>
            <a:ext cx="2228035" cy="2960686"/>
          </a:xfrm>
          <a:custGeom>
            <a:avLst/>
            <a:gdLst>
              <a:gd name="connsiteX0" fmla="*/ 316581 w 2228035"/>
              <a:gd name="connsiteY0" fmla="*/ 0 h 2960686"/>
              <a:gd name="connsiteX1" fmla="*/ 1911454 w 2228035"/>
              <a:gd name="connsiteY1" fmla="*/ 0 h 2960686"/>
              <a:gd name="connsiteX2" fmla="*/ 2228035 w 2228035"/>
              <a:gd name="connsiteY2" fmla="*/ 316581 h 2960686"/>
              <a:gd name="connsiteX3" fmla="*/ 2228035 w 2228035"/>
              <a:gd name="connsiteY3" fmla="*/ 1760537 h 2960686"/>
              <a:gd name="connsiteX4" fmla="*/ 2228035 w 2228035"/>
              <a:gd name="connsiteY4" fmla="*/ 2644106 h 2960686"/>
              <a:gd name="connsiteX5" fmla="*/ 2228035 w 2228035"/>
              <a:gd name="connsiteY5" fmla="*/ 2960686 h 2960686"/>
              <a:gd name="connsiteX6" fmla="*/ 0 w 2228035"/>
              <a:gd name="connsiteY6" fmla="*/ 2960686 h 2960686"/>
              <a:gd name="connsiteX7" fmla="*/ 0 w 2228035"/>
              <a:gd name="connsiteY7" fmla="*/ 2644106 h 2960686"/>
              <a:gd name="connsiteX8" fmla="*/ 0 w 2228035"/>
              <a:gd name="connsiteY8" fmla="*/ 1760537 h 2960686"/>
              <a:gd name="connsiteX9" fmla="*/ 0 w 2228035"/>
              <a:gd name="connsiteY9" fmla="*/ 316581 h 2960686"/>
              <a:gd name="connsiteX10" fmla="*/ 316581 w 2228035"/>
              <a:gd name="connsiteY10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28035" h="2960686">
                <a:moveTo>
                  <a:pt x="316581" y="0"/>
                </a:moveTo>
                <a:lnTo>
                  <a:pt x="1911454" y="0"/>
                </a:lnTo>
                <a:cubicBezTo>
                  <a:pt x="2086297" y="0"/>
                  <a:pt x="2228035" y="141738"/>
                  <a:pt x="2228035" y="316581"/>
                </a:cubicBezTo>
                <a:lnTo>
                  <a:pt x="2228035" y="1760537"/>
                </a:lnTo>
                <a:lnTo>
                  <a:pt x="2228035" y="2644106"/>
                </a:lnTo>
                <a:lnTo>
                  <a:pt x="2228035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62" name="Bildplatzhalter 61">
            <a:extLst>
              <a:ext uri="{FF2B5EF4-FFF2-40B4-BE49-F238E27FC236}">
                <a16:creationId xmlns:a16="http://schemas.microsoft.com/office/drawing/2014/main" id="{744C5B8B-0608-471E-A233-3632C450CF51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6387027" y="1592264"/>
            <a:ext cx="2228035" cy="2960686"/>
          </a:xfrm>
          <a:custGeom>
            <a:avLst/>
            <a:gdLst>
              <a:gd name="connsiteX0" fmla="*/ 316581 w 2228035"/>
              <a:gd name="connsiteY0" fmla="*/ 0 h 2960686"/>
              <a:gd name="connsiteX1" fmla="*/ 1911454 w 2228035"/>
              <a:gd name="connsiteY1" fmla="*/ 0 h 2960686"/>
              <a:gd name="connsiteX2" fmla="*/ 2228035 w 2228035"/>
              <a:gd name="connsiteY2" fmla="*/ 316581 h 2960686"/>
              <a:gd name="connsiteX3" fmla="*/ 2228035 w 2228035"/>
              <a:gd name="connsiteY3" fmla="*/ 1760537 h 2960686"/>
              <a:gd name="connsiteX4" fmla="*/ 2228035 w 2228035"/>
              <a:gd name="connsiteY4" fmla="*/ 2644106 h 2960686"/>
              <a:gd name="connsiteX5" fmla="*/ 2228035 w 2228035"/>
              <a:gd name="connsiteY5" fmla="*/ 2960686 h 2960686"/>
              <a:gd name="connsiteX6" fmla="*/ 0 w 2228035"/>
              <a:gd name="connsiteY6" fmla="*/ 2960686 h 2960686"/>
              <a:gd name="connsiteX7" fmla="*/ 0 w 2228035"/>
              <a:gd name="connsiteY7" fmla="*/ 2644106 h 2960686"/>
              <a:gd name="connsiteX8" fmla="*/ 0 w 2228035"/>
              <a:gd name="connsiteY8" fmla="*/ 1760537 h 2960686"/>
              <a:gd name="connsiteX9" fmla="*/ 0 w 2228035"/>
              <a:gd name="connsiteY9" fmla="*/ 316581 h 2960686"/>
              <a:gd name="connsiteX10" fmla="*/ 316581 w 2228035"/>
              <a:gd name="connsiteY10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28035" h="2960686">
                <a:moveTo>
                  <a:pt x="316581" y="0"/>
                </a:moveTo>
                <a:lnTo>
                  <a:pt x="1911454" y="0"/>
                </a:lnTo>
                <a:cubicBezTo>
                  <a:pt x="2086297" y="0"/>
                  <a:pt x="2228035" y="141738"/>
                  <a:pt x="2228035" y="316581"/>
                </a:cubicBezTo>
                <a:lnTo>
                  <a:pt x="2228035" y="1760537"/>
                </a:lnTo>
                <a:lnTo>
                  <a:pt x="2228035" y="2644106"/>
                </a:lnTo>
                <a:lnTo>
                  <a:pt x="2228035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0543800-777F-4A36-8003-A058D04E62D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 algn="r"/>
            <a:fld id="{2B8F0281-4D7C-40DB-BEEC-CA9E29AB72E5}" type="datetime1">
              <a:rPr lang="de-DE" smtClean="0"/>
              <a:t>2022-01-1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170F859-33A7-427E-A5C9-27FEA21869B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59A9547-691C-4948-A8E5-C71CA5968B44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DC65F5F3-5F25-49DD-9082-C7A05680F31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62000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29" name="Textplatzhalter 8">
            <a:extLst>
              <a:ext uri="{FF2B5EF4-FFF2-40B4-BE49-F238E27FC236}">
                <a16:creationId xmlns:a16="http://schemas.microsoft.com/office/drawing/2014/main" id="{C7D15551-1290-405F-BD25-6ABF0894721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575682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30" name="Textplatzhalter 8">
            <a:extLst>
              <a:ext uri="{FF2B5EF4-FFF2-40B4-BE49-F238E27FC236}">
                <a16:creationId xmlns:a16="http://schemas.microsoft.com/office/drawing/2014/main" id="{22F89AD0-02C5-4175-B3F4-8788C3137D8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87027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31" name="Textplatzhalter 8">
            <a:extLst>
              <a:ext uri="{FF2B5EF4-FFF2-40B4-BE49-F238E27FC236}">
                <a16:creationId xmlns:a16="http://schemas.microsoft.com/office/drawing/2014/main" id="{FE572951-2F2B-4587-8B08-FA97A950415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197202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4</a:t>
            </a:r>
          </a:p>
        </p:txBody>
      </p:sp>
      <p:sp>
        <p:nvSpPr>
          <p:cNvPr id="33" name="Textplatzhalter 28">
            <a:extLst>
              <a:ext uri="{FF2B5EF4-FFF2-40B4-BE49-F238E27FC236}">
                <a16:creationId xmlns:a16="http://schemas.microsoft.com/office/drawing/2014/main" id="{4ED0B10A-D3D0-4421-86F8-F66783F8525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62000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4" name="Textplatzhalter 28">
            <a:extLst>
              <a:ext uri="{FF2B5EF4-FFF2-40B4-BE49-F238E27FC236}">
                <a16:creationId xmlns:a16="http://schemas.microsoft.com/office/drawing/2014/main" id="{6320E11F-E7F2-4E8F-9EDD-97A74F2BDB6E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575682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5" name="Textplatzhalter 28">
            <a:extLst>
              <a:ext uri="{FF2B5EF4-FFF2-40B4-BE49-F238E27FC236}">
                <a16:creationId xmlns:a16="http://schemas.microsoft.com/office/drawing/2014/main" id="{3DBEFF14-C172-4623-AD1D-F41CEF998726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87027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6" name="Textplatzhalter 28">
            <a:extLst>
              <a:ext uri="{FF2B5EF4-FFF2-40B4-BE49-F238E27FC236}">
                <a16:creationId xmlns:a16="http://schemas.microsoft.com/office/drawing/2014/main" id="{6FA93FC9-E925-4BFF-A3E4-F222D9C8A983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197202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7" name="Untertitel 2">
            <a:extLst>
              <a:ext uri="{FF2B5EF4-FFF2-40B4-BE49-F238E27FC236}">
                <a16:creationId xmlns:a16="http://schemas.microsoft.com/office/drawing/2014/main" id="{F4EB41D9-291D-4B55-B324-F2C567EE9B3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650154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 Bilder Inhalt Farbfläch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ihandform: Form 22">
            <a:extLst>
              <a:ext uri="{FF2B5EF4-FFF2-40B4-BE49-F238E27FC236}">
                <a16:creationId xmlns:a16="http://schemas.microsoft.com/office/drawing/2014/main" id="{42C1C417-C6A8-42BE-9910-2D37DC5D2A62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262360 w 12192000"/>
              <a:gd name="connsiteY3" fmla="*/ 6858000 h 6858000"/>
              <a:gd name="connsiteX4" fmla="*/ 11262360 w 12192000"/>
              <a:gd name="connsiteY4" fmla="*/ 3802297 h 6858000"/>
              <a:gd name="connsiteX5" fmla="*/ 10276288 w 12192000"/>
              <a:gd name="connsiteY5" fmla="*/ 2816225 h 6858000"/>
              <a:gd name="connsiteX6" fmla="*/ 0 w 12192000"/>
              <a:gd name="connsiteY6" fmla="*/ 281622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262360" y="6858000"/>
                </a:lnTo>
                <a:lnTo>
                  <a:pt x="11262360" y="3802297"/>
                </a:lnTo>
                <a:cubicBezTo>
                  <a:pt x="11262360" y="3257704"/>
                  <a:pt x="10820881" y="2816225"/>
                  <a:pt x="10276288" y="2816225"/>
                </a:cubicBezTo>
                <a:lnTo>
                  <a:pt x="0" y="2816225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78833B7C-624A-4366-B73C-BA06FB92685A}"/>
              </a:ext>
            </a:extLst>
          </p:cNvPr>
          <p:cNvSpPr/>
          <p:nvPr/>
        </p:nvSpPr>
        <p:spPr>
          <a:xfrm>
            <a:off x="-10930" y="2601380"/>
            <a:ext cx="11503732" cy="4267200"/>
          </a:xfrm>
          <a:custGeom>
            <a:avLst/>
            <a:gdLst>
              <a:gd name="connsiteX0" fmla="*/ 0 w 11503732"/>
              <a:gd name="connsiteY0" fmla="*/ 0 h 4267200"/>
              <a:gd name="connsiteX1" fmla="*/ 10297224 w 11503732"/>
              <a:gd name="connsiteY1" fmla="*/ 0 h 4267200"/>
              <a:gd name="connsiteX2" fmla="*/ 11503732 w 11503732"/>
              <a:gd name="connsiteY2" fmla="*/ 1206508 h 4267200"/>
              <a:gd name="connsiteX3" fmla="*/ 11503732 w 11503732"/>
              <a:gd name="connsiteY3" fmla="*/ 4267200 h 4267200"/>
              <a:gd name="connsiteX4" fmla="*/ 0 w 11503732"/>
              <a:gd name="connsiteY4" fmla="*/ 426720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03732" h="4267200">
                <a:moveTo>
                  <a:pt x="0" y="0"/>
                </a:moveTo>
                <a:lnTo>
                  <a:pt x="10297224" y="0"/>
                </a:lnTo>
                <a:cubicBezTo>
                  <a:pt x="10963560" y="0"/>
                  <a:pt x="11503732" y="540172"/>
                  <a:pt x="11503732" y="1206508"/>
                </a:cubicBezTo>
                <a:lnTo>
                  <a:pt x="11503732" y="4267200"/>
                </a:lnTo>
                <a:lnTo>
                  <a:pt x="0" y="4267200"/>
                </a:ln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487488" y="1915370"/>
            <a:ext cx="2300287" cy="2126405"/>
          </a:xfrm>
          <a:prstGeom prst="round2SameRect">
            <a:avLst>
              <a:gd name="adj1" fmla="val 14427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4E6E7D95-E752-4938-A697-BF0079FA9A28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6" cy="635012"/>
          </a:xfrm>
        </p:grpSpPr>
        <p:sp>
          <p:nvSpPr>
            <p:cNvPr id="30" name="Oval 5">
              <a:extLst>
                <a:ext uri="{FF2B5EF4-FFF2-40B4-BE49-F238E27FC236}">
                  <a16:creationId xmlns:a16="http://schemas.microsoft.com/office/drawing/2014/main" id="{1D77E2A1-AC77-44E7-839B-CADFB8AA1A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607E5BD9-B18D-42DC-A03B-FFC59313D6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79A6C844-5DD2-409E-98B9-E19508E5FA87}"/>
                </a:ext>
              </a:extLst>
            </p:cNvPr>
            <p:cNvGrpSpPr/>
            <p:nvPr/>
          </p:nvGrpSpPr>
          <p:grpSpPr>
            <a:xfrm>
              <a:off x="1311217" y="1530579"/>
              <a:ext cx="1533582" cy="307590"/>
              <a:chOff x="3987943" y="2307132"/>
              <a:chExt cx="2607166" cy="522910"/>
            </a:xfrm>
          </p:grpSpPr>
          <p:sp>
            <p:nvSpPr>
              <p:cNvPr id="33" name="Freeform 7">
                <a:extLst>
                  <a:ext uri="{FF2B5EF4-FFF2-40B4-BE49-F238E27FC236}">
                    <a16:creationId xmlns:a16="http://schemas.microsoft.com/office/drawing/2014/main" id="{643D1AFD-B7D6-4A09-BFEB-A6E265C0EA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8">
                <a:extLst>
                  <a:ext uri="{FF2B5EF4-FFF2-40B4-BE49-F238E27FC236}">
                    <a16:creationId xmlns:a16="http://schemas.microsoft.com/office/drawing/2014/main" id="{40E33BC4-1E2D-4478-BF91-015ADA50B16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9">
                <a:extLst>
                  <a:ext uri="{FF2B5EF4-FFF2-40B4-BE49-F238E27FC236}">
                    <a16:creationId xmlns:a16="http://schemas.microsoft.com/office/drawing/2014/main" id="{B1369C83-92F5-4D60-B81D-1BA647CC02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0">
                <a:extLst>
                  <a:ext uri="{FF2B5EF4-FFF2-40B4-BE49-F238E27FC236}">
                    <a16:creationId xmlns:a16="http://schemas.microsoft.com/office/drawing/2014/main" id="{26C5AFE6-9457-47F3-A719-0D2F180FCD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1">
                <a:extLst>
                  <a:ext uri="{FF2B5EF4-FFF2-40B4-BE49-F238E27FC236}">
                    <a16:creationId xmlns:a16="http://schemas.microsoft.com/office/drawing/2014/main" id="{6EE3B5FE-7E51-4F77-8F4D-99C718E2FA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2">
                <a:extLst>
                  <a:ext uri="{FF2B5EF4-FFF2-40B4-BE49-F238E27FC236}">
                    <a16:creationId xmlns:a16="http://schemas.microsoft.com/office/drawing/2014/main" id="{4C62839E-3074-4973-814C-1B5157D823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3">
                <a:extLst>
                  <a:ext uri="{FF2B5EF4-FFF2-40B4-BE49-F238E27FC236}">
                    <a16:creationId xmlns:a16="http://schemas.microsoft.com/office/drawing/2014/main" id="{CBC551B8-B813-4181-B5A2-4FCDD7F799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4">
                <a:extLst>
                  <a:ext uri="{FF2B5EF4-FFF2-40B4-BE49-F238E27FC236}">
                    <a16:creationId xmlns:a16="http://schemas.microsoft.com/office/drawing/2014/main" id="{B4BC6E0C-B64B-45FC-BE32-87D981D4A3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5">
                <a:extLst>
                  <a:ext uri="{FF2B5EF4-FFF2-40B4-BE49-F238E27FC236}">
                    <a16:creationId xmlns:a16="http://schemas.microsoft.com/office/drawing/2014/main" id="{A8A873D6-99AD-4B9F-925C-0040680E39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6">
                <a:extLst>
                  <a:ext uri="{FF2B5EF4-FFF2-40B4-BE49-F238E27FC236}">
                    <a16:creationId xmlns:a16="http://schemas.microsoft.com/office/drawing/2014/main" id="{E6FE9E62-9925-40BD-83DB-748F8A9258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44" name="Bildplatzhalter 43">
            <a:extLst>
              <a:ext uri="{FF2B5EF4-FFF2-40B4-BE49-F238E27FC236}">
                <a16:creationId xmlns:a16="http://schemas.microsoft.com/office/drawing/2014/main" id="{2CF2BA29-B1F5-4E1C-915D-7F4FC6184988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4943475" y="1915370"/>
            <a:ext cx="2300287" cy="2126405"/>
          </a:xfrm>
          <a:prstGeom prst="round2SameRect">
            <a:avLst>
              <a:gd name="adj1" fmla="val 14427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5" name="Bildplatzhalter 44">
            <a:extLst>
              <a:ext uri="{FF2B5EF4-FFF2-40B4-BE49-F238E27FC236}">
                <a16:creationId xmlns:a16="http://schemas.microsoft.com/office/drawing/2014/main" id="{B7C45DC4-51D5-44A9-817E-78B83E5B082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8399462" y="1915370"/>
            <a:ext cx="2300287" cy="2126405"/>
          </a:xfrm>
          <a:prstGeom prst="round2SameRect">
            <a:avLst>
              <a:gd name="adj1" fmla="val 14427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95AA77A-1C06-4D07-8794-FCA3B043B958}"/>
              </a:ext>
            </a:extLst>
          </p:cNvPr>
          <p:cNvSpPr>
            <a:spLocks noGrp="1"/>
          </p:cNvSpPr>
          <p:nvPr>
            <p:ph type="dt" sz="half" idx="22"/>
          </p:nvPr>
        </p:nvSpPr>
        <p:spPr>
          <a:xfrm>
            <a:off x="11160919" y="6991314"/>
            <a:ext cx="457993" cy="101671"/>
          </a:xfrm>
        </p:spPr>
        <p:txBody>
          <a:bodyPr/>
          <a:lstStyle/>
          <a:p>
            <a:pPr algn="r"/>
            <a:fld id="{7E216B17-0A90-478C-947F-8DF332066EA7}" type="datetime1">
              <a:rPr lang="de-DE" smtClean="0"/>
              <a:t>2022-01-1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DD25278-5920-4203-8EF2-E38D0AAB249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8401051" y="6991314"/>
            <a:ext cx="2522534" cy="101671"/>
          </a:xfrm>
        </p:spPr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92D9BE3-5B6C-4092-94F4-64CE9C9872B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11725538" y="6991314"/>
            <a:ext cx="191824" cy="101671"/>
          </a:xfrm>
        </p:spPr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069AFB9C-5517-4407-B7FD-EF75A6A7FA3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487488" y="4300582"/>
            <a:ext cx="2300287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51" name="Textplatzhalter 16">
            <a:extLst>
              <a:ext uri="{FF2B5EF4-FFF2-40B4-BE49-F238E27FC236}">
                <a16:creationId xmlns:a16="http://schemas.microsoft.com/office/drawing/2014/main" id="{30296C02-F395-4295-A8EC-3AEE6D2CBCC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487488" y="4713288"/>
            <a:ext cx="2300287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2" name="Textplatzhalter 16">
            <a:extLst>
              <a:ext uri="{FF2B5EF4-FFF2-40B4-BE49-F238E27FC236}">
                <a16:creationId xmlns:a16="http://schemas.microsoft.com/office/drawing/2014/main" id="{91306E28-BA38-46F5-B8BC-88038F6D179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943475" y="4713288"/>
            <a:ext cx="2300287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6" name="Untertitel 2">
            <a:extLst>
              <a:ext uri="{FF2B5EF4-FFF2-40B4-BE49-F238E27FC236}">
                <a16:creationId xmlns:a16="http://schemas.microsoft.com/office/drawing/2014/main" id="{9B9A57EA-FE38-44D6-AE3D-B4F3EC060A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47" name="Textplatzhalter 8">
            <a:extLst>
              <a:ext uri="{FF2B5EF4-FFF2-40B4-BE49-F238E27FC236}">
                <a16:creationId xmlns:a16="http://schemas.microsoft.com/office/drawing/2014/main" id="{A12A35B3-094B-4742-ABEA-3516D15BAA4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943475" y="4300582"/>
            <a:ext cx="2300287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48" name="Textplatzhalter 8">
            <a:extLst>
              <a:ext uri="{FF2B5EF4-FFF2-40B4-BE49-F238E27FC236}">
                <a16:creationId xmlns:a16="http://schemas.microsoft.com/office/drawing/2014/main" id="{9CC9674C-B951-4329-A121-7E04804815B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399462" y="4300582"/>
            <a:ext cx="2300287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54" name="Textplatzhalter 16">
            <a:extLst>
              <a:ext uri="{FF2B5EF4-FFF2-40B4-BE49-F238E27FC236}">
                <a16:creationId xmlns:a16="http://schemas.microsoft.com/office/drawing/2014/main" id="{67765B34-0AE2-40CA-9A34-4B03C65FFEBB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399462" y="4713288"/>
            <a:ext cx="2300287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20493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iPad Mock Up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2C37800F-9453-4EDC-97E8-0481E758488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3429000 h 6858000"/>
              <a:gd name="connsiteX3" fmla="*/ 7023099 w 12192000"/>
              <a:gd name="connsiteY3" fmla="*/ 3429000 h 6858000"/>
              <a:gd name="connsiteX4" fmla="*/ 6096000 w 12192000"/>
              <a:gd name="connsiteY4" fmla="*/ 4356099 h 6858000"/>
              <a:gd name="connsiteX5" fmla="*/ 6096000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7023099" y="3429000"/>
                </a:lnTo>
                <a:cubicBezTo>
                  <a:pt x="6511076" y="3429000"/>
                  <a:pt x="6096000" y="3844076"/>
                  <a:pt x="6096000" y="4356099"/>
                </a:cubicBez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/>
        </p:nvSpPr>
        <p:spPr>
          <a:xfrm>
            <a:off x="7039363" y="883805"/>
            <a:ext cx="3838704" cy="5024482"/>
          </a:xfrm>
          <a:prstGeom prst="roundRect">
            <a:avLst>
              <a:gd name="adj" fmla="val 786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3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610447DE-E9B1-426F-82A5-E201443FF2A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399" t="2076" r="21395"/>
          <a:stretch/>
        </p:blipFill>
        <p:spPr>
          <a:xfrm>
            <a:off x="4583113" y="0"/>
            <a:ext cx="7608887" cy="6715642"/>
          </a:xfrm>
          <a:prstGeom prst="rect">
            <a:avLst/>
          </a:prstGeom>
          <a:ln>
            <a:noFill/>
          </a:ln>
        </p:spPr>
      </p:pic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034FB8A-2730-47DE-9C0C-033D8CB058B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346951" y="863600"/>
            <a:ext cx="3540124" cy="4718049"/>
          </a:xfrm>
          <a:prstGeom prst="roundRect">
            <a:avLst>
              <a:gd name="adj" fmla="val 1667"/>
            </a:avLst>
          </a:prstGeo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EE2E0E08-E5AC-46D2-99B4-35BA98B72A2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8A7F159D-F17C-430E-B0B7-B0CE90E18659}" type="datetime1">
              <a:rPr lang="de-DE" smtClean="0"/>
              <a:t>2022-01-13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3D9E1DE6-5FAE-435F-8AB8-2D86709EE6F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EE4286F4-D689-4FFC-91E4-90B2645B9A9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C6753097-1DB3-419A-91AC-D5B72E871A6B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5" cy="635012"/>
          </a:xfrm>
        </p:grpSpPr>
        <p:sp>
          <p:nvSpPr>
            <p:cNvPr id="15" name="Oval 5">
              <a:extLst>
                <a:ext uri="{FF2B5EF4-FFF2-40B4-BE49-F238E27FC236}">
                  <a16:creationId xmlns:a16="http://schemas.microsoft.com/office/drawing/2014/main" id="{D9D85354-3FEE-4119-853F-1445998749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CD487532-8521-417D-A048-8C4669F44C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9BD55D0F-593D-4A0D-BDE4-5B4526B1B436}"/>
                </a:ext>
              </a:extLst>
            </p:cNvPr>
            <p:cNvGrpSpPr/>
            <p:nvPr/>
          </p:nvGrpSpPr>
          <p:grpSpPr>
            <a:xfrm>
              <a:off x="1311216" y="1530579"/>
              <a:ext cx="1533582" cy="307590"/>
              <a:chOff x="3987943" y="2307132"/>
              <a:chExt cx="2607166" cy="522910"/>
            </a:xfrm>
          </p:grpSpPr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id="{88A73487-47E1-40BC-8038-B766B67DE0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766DB691-F432-4C12-AD93-97CDBC51174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5B123C74-CC3A-4AD1-9730-E708E9E6CB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23C307AD-317D-49F1-A441-ED1F085FA2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32A47BD3-B6FB-4D5B-8877-027C93A600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9CA9328C-1744-4387-B2F3-894A3FDF23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A9FB15DC-2278-452D-9B77-04B672B950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7F9A4067-A3D0-46C1-A9A2-E06E9AE5E9D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28C6CDC7-E6AB-4633-989A-4AA770A644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E6F3B9CD-F6AE-4110-B914-353C627514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Untertitel 2">
            <a:extLst>
              <a:ext uri="{FF2B5EF4-FFF2-40B4-BE49-F238E27FC236}">
                <a16:creationId xmlns:a16="http://schemas.microsoft.com/office/drawing/2014/main" id="{46D6CADC-F0F5-4A2C-9818-A1B8228A4C9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998990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 Bilder Inhalt Farbfläch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ihandform: Form 22">
            <a:extLst>
              <a:ext uri="{FF2B5EF4-FFF2-40B4-BE49-F238E27FC236}">
                <a16:creationId xmlns:a16="http://schemas.microsoft.com/office/drawing/2014/main" id="{42C1C417-C6A8-42BE-9910-2D37DC5D2A62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262360 w 12192000"/>
              <a:gd name="connsiteY3" fmla="*/ 6858000 h 6858000"/>
              <a:gd name="connsiteX4" fmla="*/ 11262360 w 12192000"/>
              <a:gd name="connsiteY4" fmla="*/ 3802297 h 6858000"/>
              <a:gd name="connsiteX5" fmla="*/ 10276288 w 12192000"/>
              <a:gd name="connsiteY5" fmla="*/ 2816225 h 6858000"/>
              <a:gd name="connsiteX6" fmla="*/ 0 w 12192000"/>
              <a:gd name="connsiteY6" fmla="*/ 281622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262360" y="6858000"/>
                </a:lnTo>
                <a:lnTo>
                  <a:pt x="11262360" y="3802297"/>
                </a:lnTo>
                <a:cubicBezTo>
                  <a:pt x="11262360" y="3257704"/>
                  <a:pt x="10820881" y="2816225"/>
                  <a:pt x="10276288" y="2816225"/>
                </a:cubicBezTo>
                <a:lnTo>
                  <a:pt x="0" y="2816225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78833B7C-624A-4366-B73C-BA06FB92685A}"/>
              </a:ext>
            </a:extLst>
          </p:cNvPr>
          <p:cNvSpPr/>
          <p:nvPr/>
        </p:nvSpPr>
        <p:spPr>
          <a:xfrm>
            <a:off x="-10930" y="2601380"/>
            <a:ext cx="11503732" cy="4267200"/>
          </a:xfrm>
          <a:custGeom>
            <a:avLst/>
            <a:gdLst>
              <a:gd name="connsiteX0" fmla="*/ 0 w 11503732"/>
              <a:gd name="connsiteY0" fmla="*/ 0 h 4267200"/>
              <a:gd name="connsiteX1" fmla="*/ 10297224 w 11503732"/>
              <a:gd name="connsiteY1" fmla="*/ 0 h 4267200"/>
              <a:gd name="connsiteX2" fmla="*/ 11503732 w 11503732"/>
              <a:gd name="connsiteY2" fmla="*/ 1206508 h 4267200"/>
              <a:gd name="connsiteX3" fmla="*/ 11503732 w 11503732"/>
              <a:gd name="connsiteY3" fmla="*/ 4267200 h 4267200"/>
              <a:gd name="connsiteX4" fmla="*/ 0 w 11503732"/>
              <a:gd name="connsiteY4" fmla="*/ 426720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03732" h="4267200">
                <a:moveTo>
                  <a:pt x="0" y="0"/>
                </a:moveTo>
                <a:lnTo>
                  <a:pt x="10297224" y="0"/>
                </a:lnTo>
                <a:cubicBezTo>
                  <a:pt x="10963560" y="0"/>
                  <a:pt x="11503732" y="540172"/>
                  <a:pt x="11503732" y="1206508"/>
                </a:cubicBezTo>
                <a:lnTo>
                  <a:pt x="11503732" y="4267200"/>
                </a:lnTo>
                <a:lnTo>
                  <a:pt x="0" y="4267200"/>
                </a:ln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487488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4E6E7D95-E752-4938-A697-BF0079FA9A28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6" cy="635012"/>
          </a:xfrm>
        </p:grpSpPr>
        <p:sp>
          <p:nvSpPr>
            <p:cNvPr id="30" name="Oval 5">
              <a:extLst>
                <a:ext uri="{FF2B5EF4-FFF2-40B4-BE49-F238E27FC236}">
                  <a16:creationId xmlns:a16="http://schemas.microsoft.com/office/drawing/2014/main" id="{1D77E2A1-AC77-44E7-839B-CADFB8AA1A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607E5BD9-B18D-42DC-A03B-FFC59313D6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79A6C844-5DD2-409E-98B9-E19508E5FA87}"/>
                </a:ext>
              </a:extLst>
            </p:cNvPr>
            <p:cNvGrpSpPr/>
            <p:nvPr/>
          </p:nvGrpSpPr>
          <p:grpSpPr>
            <a:xfrm>
              <a:off x="1311217" y="1530579"/>
              <a:ext cx="1533582" cy="307590"/>
              <a:chOff x="3987943" y="2307132"/>
              <a:chExt cx="2607166" cy="522910"/>
            </a:xfrm>
          </p:grpSpPr>
          <p:sp>
            <p:nvSpPr>
              <p:cNvPr id="33" name="Freeform 7">
                <a:extLst>
                  <a:ext uri="{FF2B5EF4-FFF2-40B4-BE49-F238E27FC236}">
                    <a16:creationId xmlns:a16="http://schemas.microsoft.com/office/drawing/2014/main" id="{643D1AFD-B7D6-4A09-BFEB-A6E265C0EA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8">
                <a:extLst>
                  <a:ext uri="{FF2B5EF4-FFF2-40B4-BE49-F238E27FC236}">
                    <a16:creationId xmlns:a16="http://schemas.microsoft.com/office/drawing/2014/main" id="{40E33BC4-1E2D-4478-BF91-015ADA50B16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9">
                <a:extLst>
                  <a:ext uri="{FF2B5EF4-FFF2-40B4-BE49-F238E27FC236}">
                    <a16:creationId xmlns:a16="http://schemas.microsoft.com/office/drawing/2014/main" id="{B1369C83-92F5-4D60-B81D-1BA647CC02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0">
                <a:extLst>
                  <a:ext uri="{FF2B5EF4-FFF2-40B4-BE49-F238E27FC236}">
                    <a16:creationId xmlns:a16="http://schemas.microsoft.com/office/drawing/2014/main" id="{26C5AFE6-9457-47F3-A719-0D2F180FCD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1">
                <a:extLst>
                  <a:ext uri="{FF2B5EF4-FFF2-40B4-BE49-F238E27FC236}">
                    <a16:creationId xmlns:a16="http://schemas.microsoft.com/office/drawing/2014/main" id="{6EE3B5FE-7E51-4F77-8F4D-99C718E2FA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2">
                <a:extLst>
                  <a:ext uri="{FF2B5EF4-FFF2-40B4-BE49-F238E27FC236}">
                    <a16:creationId xmlns:a16="http://schemas.microsoft.com/office/drawing/2014/main" id="{4C62839E-3074-4973-814C-1B5157D823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3">
                <a:extLst>
                  <a:ext uri="{FF2B5EF4-FFF2-40B4-BE49-F238E27FC236}">
                    <a16:creationId xmlns:a16="http://schemas.microsoft.com/office/drawing/2014/main" id="{CBC551B8-B813-4181-B5A2-4FCDD7F799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4">
                <a:extLst>
                  <a:ext uri="{FF2B5EF4-FFF2-40B4-BE49-F238E27FC236}">
                    <a16:creationId xmlns:a16="http://schemas.microsoft.com/office/drawing/2014/main" id="{B4BC6E0C-B64B-45FC-BE32-87D981D4A3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5">
                <a:extLst>
                  <a:ext uri="{FF2B5EF4-FFF2-40B4-BE49-F238E27FC236}">
                    <a16:creationId xmlns:a16="http://schemas.microsoft.com/office/drawing/2014/main" id="{A8A873D6-99AD-4B9F-925C-0040680E39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6">
                <a:extLst>
                  <a:ext uri="{FF2B5EF4-FFF2-40B4-BE49-F238E27FC236}">
                    <a16:creationId xmlns:a16="http://schemas.microsoft.com/office/drawing/2014/main" id="{E6FE9E62-9925-40BD-83DB-748F8A9258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50" name="Bildplatzhalter 49">
            <a:extLst>
              <a:ext uri="{FF2B5EF4-FFF2-40B4-BE49-F238E27FC236}">
                <a16:creationId xmlns:a16="http://schemas.microsoft.com/office/drawing/2014/main" id="{3EE30A50-6C25-44D7-942F-A1D692F5DDE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4001642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51" name="Bildplatzhalter 50">
            <a:extLst>
              <a:ext uri="{FF2B5EF4-FFF2-40B4-BE49-F238E27FC236}">
                <a16:creationId xmlns:a16="http://schemas.microsoft.com/office/drawing/2014/main" id="{4C754E0D-D00D-406A-ABB1-2BC23994F8BF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515796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52" name="Bildplatzhalter 51">
            <a:extLst>
              <a:ext uri="{FF2B5EF4-FFF2-40B4-BE49-F238E27FC236}">
                <a16:creationId xmlns:a16="http://schemas.microsoft.com/office/drawing/2014/main" id="{E86ED2C5-07F4-4D71-ABCD-26E63A679F6E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9031105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51A2BA7-048B-4652-9F13-266927BA0590}"/>
              </a:ext>
            </a:extLst>
          </p:cNvPr>
          <p:cNvSpPr>
            <a:spLocks noGrp="1"/>
          </p:cNvSpPr>
          <p:nvPr>
            <p:ph type="dt" sz="half" idx="27"/>
          </p:nvPr>
        </p:nvSpPr>
        <p:spPr>
          <a:xfrm>
            <a:off x="11160919" y="7065971"/>
            <a:ext cx="457993" cy="101671"/>
          </a:xfrm>
        </p:spPr>
        <p:txBody>
          <a:bodyPr/>
          <a:lstStyle/>
          <a:p>
            <a:pPr algn="r"/>
            <a:fld id="{E6DB3C7A-9E92-4F85-811B-A8A29A5356FB}" type="datetime1">
              <a:rPr lang="de-DE" smtClean="0"/>
              <a:t>2022-01-1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8EE3B0B-3CCF-427F-AEAB-8D00A76E7729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>
          <a:xfrm>
            <a:off x="8401051" y="7065971"/>
            <a:ext cx="2522534" cy="101671"/>
          </a:xfrm>
        </p:spPr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BFF838C-BDC9-42AC-8249-5DDDCE8081A2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>
          <a:xfrm>
            <a:off x="11725538" y="7065971"/>
            <a:ext cx="191824" cy="101671"/>
          </a:xfrm>
        </p:spPr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6" name="Untertitel 2">
            <a:extLst>
              <a:ext uri="{FF2B5EF4-FFF2-40B4-BE49-F238E27FC236}">
                <a16:creationId xmlns:a16="http://schemas.microsoft.com/office/drawing/2014/main" id="{16B6E171-4B7C-469F-B35A-49E7222610A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48" name="Textplatzhalter 8">
            <a:extLst>
              <a:ext uri="{FF2B5EF4-FFF2-40B4-BE49-F238E27FC236}">
                <a16:creationId xmlns:a16="http://schemas.microsoft.com/office/drawing/2014/main" id="{13F65E49-137F-49CC-96C9-677D761EF6C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487489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53" name="Textplatzhalter 16">
            <a:extLst>
              <a:ext uri="{FF2B5EF4-FFF2-40B4-BE49-F238E27FC236}">
                <a16:creationId xmlns:a16="http://schemas.microsoft.com/office/drawing/2014/main" id="{A54F49FB-AE91-4E83-80C5-3CF742AB40C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487489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4" name="Textplatzhalter 8">
            <a:extLst>
              <a:ext uri="{FF2B5EF4-FFF2-40B4-BE49-F238E27FC236}">
                <a16:creationId xmlns:a16="http://schemas.microsoft.com/office/drawing/2014/main" id="{64FF7AE2-3588-465D-A4E3-EDCD553F9BC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001642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55" name="Textplatzhalter 16">
            <a:extLst>
              <a:ext uri="{FF2B5EF4-FFF2-40B4-BE49-F238E27FC236}">
                <a16:creationId xmlns:a16="http://schemas.microsoft.com/office/drawing/2014/main" id="{A1F604F1-EB11-400B-ABDD-3099399B4ADC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001642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9" name="Textplatzhalter 8">
            <a:extLst>
              <a:ext uri="{FF2B5EF4-FFF2-40B4-BE49-F238E27FC236}">
                <a16:creationId xmlns:a16="http://schemas.microsoft.com/office/drawing/2014/main" id="{5BC4B0FA-D582-4036-93F1-96814F49710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515796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60" name="Textplatzhalter 16">
            <a:extLst>
              <a:ext uri="{FF2B5EF4-FFF2-40B4-BE49-F238E27FC236}">
                <a16:creationId xmlns:a16="http://schemas.microsoft.com/office/drawing/2014/main" id="{4B580C67-39E0-4EC8-9F24-8E7864C39E6B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515796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1" name="Textplatzhalter 8">
            <a:extLst>
              <a:ext uri="{FF2B5EF4-FFF2-40B4-BE49-F238E27FC236}">
                <a16:creationId xmlns:a16="http://schemas.microsoft.com/office/drawing/2014/main" id="{E7FBAB3C-EF31-417C-9446-82665CB1E6D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031105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4</a:t>
            </a:r>
          </a:p>
        </p:txBody>
      </p:sp>
      <p:sp>
        <p:nvSpPr>
          <p:cNvPr id="62" name="Textplatzhalter 16">
            <a:extLst>
              <a:ext uri="{FF2B5EF4-FFF2-40B4-BE49-F238E27FC236}">
                <a16:creationId xmlns:a16="http://schemas.microsoft.com/office/drawing/2014/main" id="{DCC8B642-B619-4D5D-BEE0-CD8E23A77B03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031105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65567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ontakt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Freihandform: Form 26">
            <a:extLst>
              <a:ext uri="{FF2B5EF4-FFF2-40B4-BE49-F238E27FC236}">
                <a16:creationId xmlns:a16="http://schemas.microsoft.com/office/drawing/2014/main" id="{DBA92605-BBDE-4D7C-B39F-1E98C189EE57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191998 w 12192000"/>
              <a:gd name="connsiteY3" fmla="*/ 6858000 h 6858000"/>
              <a:gd name="connsiteX4" fmla="*/ 12191998 w 12192000"/>
              <a:gd name="connsiteY4" fmla="*/ 3429000 h 6858000"/>
              <a:gd name="connsiteX5" fmla="*/ 8518560 w 12192000"/>
              <a:gd name="connsiteY5" fmla="*/ 3429000 h 6858000"/>
              <a:gd name="connsiteX6" fmla="*/ 7608881 w 12192000"/>
              <a:gd name="connsiteY6" fmla="*/ 4338679 h 6858000"/>
              <a:gd name="connsiteX7" fmla="*/ 7608881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91998" y="6858000"/>
                </a:lnTo>
                <a:lnTo>
                  <a:pt x="12191998" y="3429000"/>
                </a:lnTo>
                <a:lnTo>
                  <a:pt x="8518560" y="3429000"/>
                </a:lnTo>
                <a:cubicBezTo>
                  <a:pt x="8016158" y="3429000"/>
                  <a:pt x="7608881" y="3836277"/>
                  <a:pt x="7608881" y="4338679"/>
                </a:cubicBezTo>
                <a:lnTo>
                  <a:pt x="760888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8" name="Rechteck: eine Ecke abgerundet 27">
            <a:extLst>
              <a:ext uri="{FF2B5EF4-FFF2-40B4-BE49-F238E27FC236}">
                <a16:creationId xmlns:a16="http://schemas.microsoft.com/office/drawing/2014/main" id="{B0374E10-3286-47C8-8ED2-2A4F88E7886F}"/>
              </a:ext>
            </a:extLst>
          </p:cNvPr>
          <p:cNvSpPr/>
          <p:nvPr/>
        </p:nvSpPr>
        <p:spPr>
          <a:xfrm flipH="1">
            <a:off x="7859179" y="3253843"/>
            <a:ext cx="4343397" cy="3614737"/>
          </a:xfrm>
          <a:prstGeom prst="round1Rect">
            <a:avLst>
              <a:gd name="adj" fmla="val 2652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16C1E5B9-FEB6-4AA6-BD6B-F927D33B7586}"/>
              </a:ext>
            </a:extLst>
          </p:cNvPr>
          <p:cNvGrpSpPr/>
          <p:nvPr/>
        </p:nvGrpSpPr>
        <p:grpSpPr>
          <a:xfrm>
            <a:off x="1487489" y="1592263"/>
            <a:ext cx="2961647" cy="790184"/>
            <a:chOff x="464743" y="1368699"/>
            <a:chExt cx="2380058" cy="635012"/>
          </a:xfrm>
        </p:grpSpPr>
        <p:sp>
          <p:nvSpPr>
            <p:cNvPr id="13" name="Oval 5">
              <a:extLst>
                <a:ext uri="{FF2B5EF4-FFF2-40B4-BE49-F238E27FC236}">
                  <a16:creationId xmlns:a16="http://schemas.microsoft.com/office/drawing/2014/main" id="{A63FDF46-9240-4989-8BD0-C8E6ACCDA8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BCEEBEBB-AF39-4FA0-BF2A-C2F67F3089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706779D2-753C-408C-8D8F-2EA69C718621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16" name="Freeform 7">
                <a:extLst>
                  <a:ext uri="{FF2B5EF4-FFF2-40B4-BE49-F238E27FC236}">
                    <a16:creationId xmlns:a16="http://schemas.microsoft.com/office/drawing/2014/main" id="{80064577-26DD-4C45-9CA7-CA84B29940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8">
                <a:extLst>
                  <a:ext uri="{FF2B5EF4-FFF2-40B4-BE49-F238E27FC236}">
                    <a16:creationId xmlns:a16="http://schemas.microsoft.com/office/drawing/2014/main" id="{9D448FEE-A734-446E-B740-78A968A27C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9">
                <a:extLst>
                  <a:ext uri="{FF2B5EF4-FFF2-40B4-BE49-F238E27FC236}">
                    <a16:creationId xmlns:a16="http://schemas.microsoft.com/office/drawing/2014/main" id="{888D8F5D-79D7-4B65-A82D-00FF784BBD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0">
                <a:extLst>
                  <a:ext uri="{FF2B5EF4-FFF2-40B4-BE49-F238E27FC236}">
                    <a16:creationId xmlns:a16="http://schemas.microsoft.com/office/drawing/2014/main" id="{C200D8BD-ED64-4635-B9AE-FBB6DE7A03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1">
                <a:extLst>
                  <a:ext uri="{FF2B5EF4-FFF2-40B4-BE49-F238E27FC236}">
                    <a16:creationId xmlns:a16="http://schemas.microsoft.com/office/drawing/2014/main" id="{4AF606B8-E6F5-4239-AF0E-C3B1CB66F7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2">
                <a:extLst>
                  <a:ext uri="{FF2B5EF4-FFF2-40B4-BE49-F238E27FC236}">
                    <a16:creationId xmlns:a16="http://schemas.microsoft.com/office/drawing/2014/main" id="{4FA34997-3170-4E22-BE0E-39B040570F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3">
                <a:extLst>
                  <a:ext uri="{FF2B5EF4-FFF2-40B4-BE49-F238E27FC236}">
                    <a16:creationId xmlns:a16="http://schemas.microsoft.com/office/drawing/2014/main" id="{E0899F0A-43C2-4A2B-BB23-92FD4E59A0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4">
                <a:extLst>
                  <a:ext uri="{FF2B5EF4-FFF2-40B4-BE49-F238E27FC236}">
                    <a16:creationId xmlns:a16="http://schemas.microsoft.com/office/drawing/2014/main" id="{002B1808-6EF8-43A6-98A3-F218A91060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5">
                <a:extLst>
                  <a:ext uri="{FF2B5EF4-FFF2-40B4-BE49-F238E27FC236}">
                    <a16:creationId xmlns:a16="http://schemas.microsoft.com/office/drawing/2014/main" id="{E469321C-D642-4F96-AE63-CD87201D47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6">
                <a:extLst>
                  <a:ext uri="{FF2B5EF4-FFF2-40B4-BE49-F238E27FC236}">
                    <a16:creationId xmlns:a16="http://schemas.microsoft.com/office/drawing/2014/main" id="{4D226FE2-5036-43B8-8F8D-521582CD79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6" name="Untertitel 2">
            <a:extLst>
              <a:ext uri="{FF2B5EF4-FFF2-40B4-BE49-F238E27FC236}">
                <a16:creationId xmlns:a16="http://schemas.microsoft.com/office/drawing/2014/main" id="{D96F2E30-AD82-4714-8A11-F958AF4B58D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1487488" y="3731319"/>
            <a:ext cx="4608513" cy="555166"/>
          </a:xfrm>
        </p:spPr>
        <p:txBody>
          <a:bodyPr anchor="t"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latin typeface="+mj-lt"/>
              </a:defRPr>
            </a:lvl5pPr>
            <a:lvl6pPr marL="0" indent="0" algn="l">
              <a:buNone/>
              <a:defRPr sz="1600">
                <a:latin typeface="+mj-lt"/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1600">
                <a:latin typeface="+mj-lt"/>
              </a:defRPr>
            </a:lvl8pPr>
            <a:lvl9pPr marL="0" indent="0" algn="l">
              <a:buNone/>
              <a:defRPr sz="1600">
                <a:latin typeface="+mj-lt"/>
              </a:defRPr>
            </a:lvl9pPr>
          </a:lstStyle>
          <a:p>
            <a:pPr lvl="0"/>
            <a:r>
              <a:rPr lang="de-DE"/>
              <a:t>Ansprechpartner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5A9BCAB-9C87-4D36-B881-012BF99022A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160919" y="6991314"/>
            <a:ext cx="457993" cy="101671"/>
          </a:xfrm>
        </p:spPr>
        <p:txBody>
          <a:bodyPr/>
          <a:lstStyle/>
          <a:p>
            <a:pPr algn="r"/>
            <a:fld id="{DFCE1155-0080-420F-ABF0-B3C41E43B13D}" type="datetime1">
              <a:rPr lang="de-DE" smtClean="0"/>
              <a:t>2022-01-1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61069FE-2725-4BCC-BCF7-A78591EA81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401051" y="6991314"/>
            <a:ext cx="2522534" cy="101671"/>
          </a:xfrm>
        </p:spPr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FEE5DB6-0E07-4B7F-B8B0-939A52CB41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25538" y="6991314"/>
            <a:ext cx="191824" cy="101671"/>
          </a:xfrm>
        </p:spPr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FC919270-0373-4724-98EA-4F5244A618BB}"/>
              </a:ext>
            </a:extLst>
          </p:cNvPr>
          <p:cNvSpPr txBox="1">
            <a:spLocks/>
          </p:cNvSpPr>
          <p:nvPr/>
        </p:nvSpPr>
        <p:spPr>
          <a:xfrm>
            <a:off x="1487489" y="2825750"/>
            <a:ext cx="4608514" cy="1216025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lvl1pPr lvl="0">
              <a:lnSpc>
                <a:spcPct val="80000"/>
              </a:lnSpc>
              <a:spcBef>
                <a:spcPct val="0"/>
              </a:spcBef>
              <a:buNone/>
              <a:defRPr lang="de-DE" sz="5400" baseline="0" dirty="0">
                <a:latin typeface="Officina Sans ITC Pro Medium" panose="020C0606030503020204" pitchFamily="34" charset="0"/>
                <a:ea typeface="Inter Medium" panose="020B0502030000000004" pitchFamily="34" charset="0"/>
              </a:defRPr>
            </a:lvl1pPr>
            <a:lvl2pPr>
              <a:lnSpc>
                <a:spcPct val="80000"/>
              </a:lnSpc>
              <a:defRPr sz="5400" baseline="0">
                <a:latin typeface="+mj-lt"/>
              </a:defRPr>
            </a:lvl2pPr>
            <a:lvl3pPr>
              <a:lnSpc>
                <a:spcPct val="80000"/>
              </a:lnSpc>
              <a:defRPr sz="5400" baseline="0">
                <a:latin typeface="+mj-lt"/>
              </a:defRPr>
            </a:lvl3pPr>
            <a:lvl4pPr>
              <a:lnSpc>
                <a:spcPct val="80000"/>
              </a:lnSpc>
              <a:defRPr sz="5400" b="0" baseline="0">
                <a:latin typeface="+mj-lt"/>
              </a:defRPr>
            </a:lvl4pPr>
            <a:lvl5pPr>
              <a:lnSpc>
                <a:spcPct val="80000"/>
              </a:lnSpc>
              <a:defRPr sz="5400" baseline="0">
                <a:latin typeface="+mj-lt"/>
              </a:defRPr>
            </a:lvl5pPr>
            <a:lvl6pPr>
              <a:lnSpc>
                <a:spcPct val="80000"/>
              </a:lnSpc>
              <a:defRPr sz="5400" baseline="0">
                <a:latin typeface="+mj-lt"/>
              </a:defRPr>
            </a:lvl6pPr>
            <a:lvl7pPr>
              <a:lnSpc>
                <a:spcPct val="80000"/>
              </a:lnSpc>
              <a:defRPr sz="5400" baseline="0">
                <a:latin typeface="+mj-lt"/>
              </a:defRPr>
            </a:lvl7pPr>
            <a:lvl8pPr>
              <a:lnSpc>
                <a:spcPct val="80000"/>
              </a:lnSpc>
              <a:defRPr sz="5400" baseline="0">
                <a:latin typeface="+mj-lt"/>
              </a:defRPr>
            </a:lvl8pPr>
            <a:lvl9pPr>
              <a:lnSpc>
                <a:spcPct val="80000"/>
              </a:lnSpc>
              <a:defRPr sz="5400" baseline="0">
                <a:latin typeface="+mj-lt"/>
              </a:defRPr>
            </a:lvl9pPr>
          </a:lstStyle>
          <a:p>
            <a:pPr lvl="0"/>
            <a:r>
              <a:rPr lang="de-DE" noProof="0"/>
              <a:t>Kontakt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C7B08C6D-40F5-4999-BE63-3548B437CFA0}"/>
              </a:ext>
            </a:extLst>
          </p:cNvPr>
          <p:cNvSpPr txBox="1">
            <a:spLocks/>
          </p:cNvSpPr>
          <p:nvPr/>
        </p:nvSpPr>
        <p:spPr>
          <a:xfrm>
            <a:off x="1487488" y="4286485"/>
            <a:ext cx="4608513" cy="189275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90000"/>
              <a:buFont typeface="Inter Semi Bold" panose="020B0702030000000004" pitchFamily="34" charset="0"/>
              <a:buNone/>
              <a:defRPr lang="de-DE" sz="1600" b="0" dirty="0">
                <a:latin typeface="+mj-lt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tabLst/>
              <a:defRPr sz="1600" b="0"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defRPr sz="1600" b="0">
                <a:latin typeface="+mj-lt"/>
              </a:defRPr>
            </a:lvl5pPr>
            <a:lvl6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8pPr>
            <a:lvl9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9pPr>
          </a:lstStyle>
          <a:p>
            <a:pPr lvl="0">
              <a:spcAft>
                <a:spcPts val="1200"/>
              </a:spcAft>
            </a:pPr>
            <a:r>
              <a:rPr lang="de-DE" noProof="0" err="1">
                <a:latin typeface="+mn-lt"/>
              </a:rPr>
              <a:t>LichtBlick</a:t>
            </a:r>
            <a:r>
              <a:rPr lang="de-DE" noProof="0">
                <a:latin typeface="+mn-lt"/>
              </a:rPr>
              <a:t> SE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Zirkusweg 6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20359 Hamburg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Telefon: 040-63 60 0</a:t>
            </a:r>
          </a:p>
          <a:p>
            <a:pPr lvl="0"/>
            <a:r>
              <a:rPr lang="de-DE" noProof="0">
                <a:latin typeface="+mn-lt"/>
              </a:rPr>
              <a:t>info@lichtblick.de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www.lichtblick.de</a:t>
            </a:r>
          </a:p>
        </p:txBody>
      </p:sp>
    </p:spTree>
    <p:extLst>
      <p:ext uri="{BB962C8B-B14F-4D97-AF65-F5344CB8AC3E}">
        <p14:creationId xmlns:p14="http://schemas.microsoft.com/office/powerpoint/2010/main" val="2244558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ontaktfolie Bil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hteck 25">
            <a:extLst>
              <a:ext uri="{FF2B5EF4-FFF2-40B4-BE49-F238E27FC236}">
                <a16:creationId xmlns:a16="http://schemas.microsoft.com/office/drawing/2014/main" id="{0142DB26-9077-4456-9A99-1FFF392AF939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33" name="Bildplatzhalter 32">
            <a:extLst>
              <a:ext uri="{FF2B5EF4-FFF2-40B4-BE49-F238E27FC236}">
                <a16:creationId xmlns:a16="http://schemas.microsoft.com/office/drawing/2014/main" id="{02C3296D-204D-4287-9946-F03ED5B09CF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401050 w 12192000"/>
              <a:gd name="connsiteY3" fmla="*/ 6858000 h 6858000"/>
              <a:gd name="connsiteX4" fmla="*/ 8401050 w 12192000"/>
              <a:gd name="connsiteY4" fmla="*/ 3420567 h 6858000"/>
              <a:gd name="connsiteX5" fmla="*/ 7164883 w 12192000"/>
              <a:gd name="connsiteY5" fmla="*/ 2184400 h 6858000"/>
              <a:gd name="connsiteX6" fmla="*/ 0 w 12192000"/>
              <a:gd name="connsiteY6" fmla="*/ 21844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401050" y="6858000"/>
                </a:lnTo>
                <a:lnTo>
                  <a:pt x="8401050" y="3420567"/>
                </a:lnTo>
                <a:cubicBezTo>
                  <a:pt x="8401050" y="2737851"/>
                  <a:pt x="7847599" y="2184400"/>
                  <a:pt x="7164883" y="2184400"/>
                </a:cubicBezTo>
                <a:lnTo>
                  <a:pt x="0" y="218440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16C1E5B9-FEB6-4AA6-BD6B-F927D33B7586}"/>
              </a:ext>
            </a:extLst>
          </p:cNvPr>
          <p:cNvGrpSpPr/>
          <p:nvPr/>
        </p:nvGrpSpPr>
        <p:grpSpPr>
          <a:xfrm>
            <a:off x="1487485" y="2887661"/>
            <a:ext cx="1512888" cy="403647"/>
            <a:chOff x="464743" y="1368699"/>
            <a:chExt cx="2380058" cy="635012"/>
          </a:xfrm>
        </p:grpSpPr>
        <p:sp>
          <p:nvSpPr>
            <p:cNvPr id="13" name="Oval 5">
              <a:extLst>
                <a:ext uri="{FF2B5EF4-FFF2-40B4-BE49-F238E27FC236}">
                  <a16:creationId xmlns:a16="http://schemas.microsoft.com/office/drawing/2014/main" id="{A63FDF46-9240-4989-8BD0-C8E6ACCDA8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BCEEBEBB-AF39-4FA0-BF2A-C2F67F3089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706779D2-753C-408C-8D8F-2EA69C718621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16" name="Freeform 7">
                <a:extLst>
                  <a:ext uri="{FF2B5EF4-FFF2-40B4-BE49-F238E27FC236}">
                    <a16:creationId xmlns:a16="http://schemas.microsoft.com/office/drawing/2014/main" id="{80064577-26DD-4C45-9CA7-CA84B29940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8">
                <a:extLst>
                  <a:ext uri="{FF2B5EF4-FFF2-40B4-BE49-F238E27FC236}">
                    <a16:creationId xmlns:a16="http://schemas.microsoft.com/office/drawing/2014/main" id="{9D448FEE-A734-446E-B740-78A968A27C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9">
                <a:extLst>
                  <a:ext uri="{FF2B5EF4-FFF2-40B4-BE49-F238E27FC236}">
                    <a16:creationId xmlns:a16="http://schemas.microsoft.com/office/drawing/2014/main" id="{888D8F5D-79D7-4B65-A82D-00FF784BBD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0">
                <a:extLst>
                  <a:ext uri="{FF2B5EF4-FFF2-40B4-BE49-F238E27FC236}">
                    <a16:creationId xmlns:a16="http://schemas.microsoft.com/office/drawing/2014/main" id="{C200D8BD-ED64-4635-B9AE-FBB6DE7A03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1">
                <a:extLst>
                  <a:ext uri="{FF2B5EF4-FFF2-40B4-BE49-F238E27FC236}">
                    <a16:creationId xmlns:a16="http://schemas.microsoft.com/office/drawing/2014/main" id="{4AF606B8-E6F5-4239-AF0E-C3B1CB66F7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2">
                <a:extLst>
                  <a:ext uri="{FF2B5EF4-FFF2-40B4-BE49-F238E27FC236}">
                    <a16:creationId xmlns:a16="http://schemas.microsoft.com/office/drawing/2014/main" id="{4FA34997-3170-4E22-BE0E-39B040570F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3">
                <a:extLst>
                  <a:ext uri="{FF2B5EF4-FFF2-40B4-BE49-F238E27FC236}">
                    <a16:creationId xmlns:a16="http://schemas.microsoft.com/office/drawing/2014/main" id="{E0899F0A-43C2-4A2B-BB23-92FD4E59A0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4">
                <a:extLst>
                  <a:ext uri="{FF2B5EF4-FFF2-40B4-BE49-F238E27FC236}">
                    <a16:creationId xmlns:a16="http://schemas.microsoft.com/office/drawing/2014/main" id="{002B1808-6EF8-43A6-98A3-F218A91060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5">
                <a:extLst>
                  <a:ext uri="{FF2B5EF4-FFF2-40B4-BE49-F238E27FC236}">
                    <a16:creationId xmlns:a16="http://schemas.microsoft.com/office/drawing/2014/main" id="{E469321C-D642-4F96-AE63-CD87201D47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6">
                <a:extLst>
                  <a:ext uri="{FF2B5EF4-FFF2-40B4-BE49-F238E27FC236}">
                    <a16:creationId xmlns:a16="http://schemas.microsoft.com/office/drawing/2014/main" id="{4D226FE2-5036-43B8-8F8D-521582CD79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437962F-E714-42F7-B807-3B72669F46F9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11160919" y="7101333"/>
            <a:ext cx="457993" cy="101671"/>
          </a:xfrm>
        </p:spPr>
        <p:txBody>
          <a:bodyPr/>
          <a:lstStyle/>
          <a:p>
            <a:pPr algn="r"/>
            <a:fld id="{1FC93CF7-A7A1-4162-A354-75627B4326DA}" type="datetime1">
              <a:rPr lang="de-DE" smtClean="0"/>
              <a:t>2022-01-1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99922A8-9C1D-4216-90A2-3392B73412B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8401051" y="7101333"/>
            <a:ext cx="2522534" cy="101671"/>
          </a:xfrm>
        </p:spPr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FBD4C10-6C65-4DD3-B1F1-2C774F7CDFBA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11725538" y="7101333"/>
            <a:ext cx="191824" cy="101671"/>
          </a:xfrm>
        </p:spPr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9" name="Untertitel 2">
            <a:extLst>
              <a:ext uri="{FF2B5EF4-FFF2-40B4-BE49-F238E27FC236}">
                <a16:creationId xmlns:a16="http://schemas.microsoft.com/office/drawing/2014/main" id="{78D7C0B7-74BD-41CB-ABE2-0EC389AF3F4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1487485" y="4041776"/>
            <a:ext cx="4608513" cy="555166"/>
          </a:xfrm>
        </p:spPr>
        <p:txBody>
          <a:bodyPr anchor="t"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latin typeface="+mj-lt"/>
              </a:defRPr>
            </a:lvl5pPr>
            <a:lvl6pPr marL="0" indent="0" algn="l">
              <a:buNone/>
              <a:defRPr sz="1600">
                <a:latin typeface="+mj-lt"/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1600">
                <a:latin typeface="+mj-lt"/>
              </a:defRPr>
            </a:lvl8pPr>
            <a:lvl9pPr marL="0" indent="0" algn="l">
              <a:buNone/>
              <a:defRPr sz="1600">
                <a:latin typeface="+mj-lt"/>
              </a:defRPr>
            </a:lvl9pPr>
          </a:lstStyle>
          <a:p>
            <a:pPr lvl="0"/>
            <a:r>
              <a:rPr lang="de-DE"/>
              <a:t>Ansprechpartner</a:t>
            </a: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986032D8-4031-4467-BE05-2556CF2BD66E}"/>
              </a:ext>
            </a:extLst>
          </p:cNvPr>
          <p:cNvSpPr txBox="1">
            <a:spLocks/>
          </p:cNvSpPr>
          <p:nvPr/>
        </p:nvSpPr>
        <p:spPr>
          <a:xfrm>
            <a:off x="1487486" y="3458633"/>
            <a:ext cx="4608514" cy="58314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lvl1pPr lvl="0">
              <a:lnSpc>
                <a:spcPct val="80000"/>
              </a:lnSpc>
              <a:spcBef>
                <a:spcPct val="0"/>
              </a:spcBef>
              <a:buNone/>
              <a:defRPr lang="de-DE" sz="5400" baseline="0" dirty="0">
                <a:latin typeface="Officina Sans ITC Pro Medium" panose="020C0606030503020204" pitchFamily="34" charset="0"/>
                <a:ea typeface="Inter Medium" panose="020B0502030000000004" pitchFamily="34" charset="0"/>
              </a:defRPr>
            </a:lvl1pPr>
            <a:lvl2pPr>
              <a:lnSpc>
                <a:spcPct val="80000"/>
              </a:lnSpc>
              <a:defRPr sz="5400" baseline="0">
                <a:latin typeface="+mj-lt"/>
              </a:defRPr>
            </a:lvl2pPr>
            <a:lvl3pPr>
              <a:lnSpc>
                <a:spcPct val="80000"/>
              </a:lnSpc>
              <a:defRPr sz="5400" baseline="0">
                <a:latin typeface="+mj-lt"/>
              </a:defRPr>
            </a:lvl3pPr>
            <a:lvl4pPr>
              <a:lnSpc>
                <a:spcPct val="80000"/>
              </a:lnSpc>
              <a:defRPr sz="5400" b="0" baseline="0">
                <a:latin typeface="+mj-lt"/>
              </a:defRPr>
            </a:lvl4pPr>
            <a:lvl5pPr>
              <a:lnSpc>
                <a:spcPct val="80000"/>
              </a:lnSpc>
              <a:defRPr sz="5400" baseline="0">
                <a:latin typeface="+mj-lt"/>
              </a:defRPr>
            </a:lvl5pPr>
            <a:lvl6pPr>
              <a:lnSpc>
                <a:spcPct val="80000"/>
              </a:lnSpc>
              <a:defRPr sz="5400" baseline="0">
                <a:latin typeface="+mj-lt"/>
              </a:defRPr>
            </a:lvl6pPr>
            <a:lvl7pPr>
              <a:lnSpc>
                <a:spcPct val="80000"/>
              </a:lnSpc>
              <a:defRPr sz="5400" baseline="0">
                <a:latin typeface="+mj-lt"/>
              </a:defRPr>
            </a:lvl7pPr>
            <a:lvl8pPr>
              <a:lnSpc>
                <a:spcPct val="80000"/>
              </a:lnSpc>
              <a:defRPr sz="5400" baseline="0">
                <a:latin typeface="+mj-lt"/>
              </a:defRPr>
            </a:lvl8pPr>
            <a:lvl9pPr>
              <a:lnSpc>
                <a:spcPct val="80000"/>
              </a:lnSpc>
              <a:defRPr sz="5400" baseline="0">
                <a:latin typeface="+mj-lt"/>
              </a:defRPr>
            </a:lvl9pPr>
          </a:lstStyle>
          <a:p>
            <a:pPr lvl="0"/>
            <a:r>
              <a:rPr lang="de-DE" noProof="0"/>
              <a:t>Kontakt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1DB7F4A3-B0B9-4C76-8A25-C5E91C59FE24}"/>
              </a:ext>
            </a:extLst>
          </p:cNvPr>
          <p:cNvSpPr txBox="1">
            <a:spLocks/>
          </p:cNvSpPr>
          <p:nvPr/>
        </p:nvSpPr>
        <p:spPr>
          <a:xfrm>
            <a:off x="1487485" y="4596942"/>
            <a:ext cx="4608513" cy="189275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90000"/>
              <a:buFont typeface="Inter Semi Bold" panose="020B0702030000000004" pitchFamily="34" charset="0"/>
              <a:buNone/>
              <a:defRPr lang="de-DE" sz="1600" b="0" dirty="0">
                <a:latin typeface="+mj-lt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tabLst/>
              <a:defRPr sz="1600" b="0"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defRPr sz="1600" b="0">
                <a:latin typeface="+mj-lt"/>
              </a:defRPr>
            </a:lvl5pPr>
            <a:lvl6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8pPr>
            <a:lvl9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9pPr>
          </a:lstStyle>
          <a:p>
            <a:pPr lvl="0">
              <a:spcAft>
                <a:spcPts val="1200"/>
              </a:spcAft>
            </a:pPr>
            <a:r>
              <a:rPr lang="de-DE" noProof="0" err="1"/>
              <a:t>LichtBlick</a:t>
            </a:r>
            <a:r>
              <a:rPr lang="de-DE" noProof="0"/>
              <a:t> SE</a:t>
            </a:r>
            <a:br>
              <a:rPr lang="de-DE" noProof="0"/>
            </a:br>
            <a:r>
              <a:rPr lang="de-DE" noProof="0"/>
              <a:t>Zirkusweg 6</a:t>
            </a:r>
            <a:br>
              <a:rPr lang="de-DE" noProof="0"/>
            </a:br>
            <a:r>
              <a:rPr lang="de-DE" noProof="0"/>
              <a:t>20359 Hamburg</a:t>
            </a:r>
            <a:br>
              <a:rPr lang="de-DE" noProof="0"/>
            </a:br>
            <a:r>
              <a:rPr lang="de-DE" noProof="0"/>
              <a:t>Telefon: 040-63 60 0</a:t>
            </a:r>
          </a:p>
          <a:p>
            <a:pPr lvl="0"/>
            <a:r>
              <a:rPr lang="de-DE" noProof="0"/>
              <a:t>info@lichtblick.de</a:t>
            </a:r>
            <a:br>
              <a:rPr lang="de-DE" noProof="0"/>
            </a:br>
            <a:r>
              <a:rPr lang="de-DE" noProof="0"/>
              <a:t>www.lichtblick.de</a:t>
            </a:r>
          </a:p>
        </p:txBody>
      </p:sp>
    </p:spTree>
    <p:extLst>
      <p:ext uri="{BB962C8B-B14F-4D97-AF65-F5344CB8AC3E}">
        <p14:creationId xmlns:p14="http://schemas.microsoft.com/office/powerpoint/2010/main" val="1859011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er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EB1863D8-DB63-4C22-AAA7-72EDC9CB82FD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6EA14A0-3613-4360-88EF-0253BBAD92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37D90D82-DB33-48CC-B102-7811BCF38587}" type="datetime1">
              <a:rPr lang="de-DE" smtClean="0"/>
              <a:t>2022-01-1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D6DB60C-42BE-40BD-8FF3-383B62B0E6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3053749-1ECC-4AB5-901B-624404F25B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8A1FF1D3-3173-46C3-A244-B65A4C046D40}"/>
              </a:ext>
            </a:extLst>
          </p:cNvPr>
          <p:cNvGrpSpPr/>
          <p:nvPr/>
        </p:nvGrpSpPr>
        <p:grpSpPr>
          <a:xfrm>
            <a:off x="10990764" y="364362"/>
            <a:ext cx="867864" cy="231551"/>
            <a:chOff x="464743" y="1368699"/>
            <a:chExt cx="2380058" cy="635012"/>
          </a:xfrm>
        </p:grpSpPr>
        <p:sp>
          <p:nvSpPr>
            <p:cNvPr id="9" name="Oval 5">
              <a:extLst>
                <a:ext uri="{FF2B5EF4-FFF2-40B4-BE49-F238E27FC236}">
                  <a16:creationId xmlns:a16="http://schemas.microsoft.com/office/drawing/2014/main" id="{EDACADA7-20C9-4408-BEAA-E5A9DD1BB5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1908261F-7D21-4331-9B51-D5EA24EADD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1" name="Gruppieren 10">
              <a:extLst>
                <a:ext uri="{FF2B5EF4-FFF2-40B4-BE49-F238E27FC236}">
                  <a16:creationId xmlns:a16="http://schemas.microsoft.com/office/drawing/2014/main" id="{587CD074-2D91-4FBC-9D30-00760237743D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12" name="Freeform 7">
                <a:extLst>
                  <a:ext uri="{FF2B5EF4-FFF2-40B4-BE49-F238E27FC236}">
                    <a16:creationId xmlns:a16="http://schemas.microsoft.com/office/drawing/2014/main" id="{7A8C561C-87CE-45E1-9CFA-9512373D99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3" name="Freeform 8">
                <a:extLst>
                  <a:ext uri="{FF2B5EF4-FFF2-40B4-BE49-F238E27FC236}">
                    <a16:creationId xmlns:a16="http://schemas.microsoft.com/office/drawing/2014/main" id="{72EC9B22-1CF8-4F2A-8E57-58A39ABCA97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4" name="Freeform 9">
                <a:extLst>
                  <a:ext uri="{FF2B5EF4-FFF2-40B4-BE49-F238E27FC236}">
                    <a16:creationId xmlns:a16="http://schemas.microsoft.com/office/drawing/2014/main" id="{AC15ECBF-DF59-45DD-AE5F-B76DA979A4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5" name="Freeform 10">
                <a:extLst>
                  <a:ext uri="{FF2B5EF4-FFF2-40B4-BE49-F238E27FC236}">
                    <a16:creationId xmlns:a16="http://schemas.microsoft.com/office/drawing/2014/main" id="{D73A98C9-6BEB-4661-9643-E74C5A30FA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6" name="Freeform 11">
                <a:extLst>
                  <a:ext uri="{FF2B5EF4-FFF2-40B4-BE49-F238E27FC236}">
                    <a16:creationId xmlns:a16="http://schemas.microsoft.com/office/drawing/2014/main" id="{413BD688-67B3-4777-AE5E-47FB317A07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12">
                <a:extLst>
                  <a:ext uri="{FF2B5EF4-FFF2-40B4-BE49-F238E27FC236}">
                    <a16:creationId xmlns:a16="http://schemas.microsoft.com/office/drawing/2014/main" id="{21D675A5-E087-4E40-92F2-955977DF888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13">
                <a:extLst>
                  <a:ext uri="{FF2B5EF4-FFF2-40B4-BE49-F238E27FC236}">
                    <a16:creationId xmlns:a16="http://schemas.microsoft.com/office/drawing/2014/main" id="{40FB772E-762E-437E-BB51-5DD22DC196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4">
                <a:extLst>
                  <a:ext uri="{FF2B5EF4-FFF2-40B4-BE49-F238E27FC236}">
                    <a16:creationId xmlns:a16="http://schemas.microsoft.com/office/drawing/2014/main" id="{19EF3042-F9D9-42E5-BA79-4A9CD09A5A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5">
                <a:extLst>
                  <a:ext uri="{FF2B5EF4-FFF2-40B4-BE49-F238E27FC236}">
                    <a16:creationId xmlns:a16="http://schemas.microsoft.com/office/drawing/2014/main" id="{EC7CE5F6-A704-449A-BF6A-DEC723415D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6">
                <a:extLst>
                  <a:ext uri="{FF2B5EF4-FFF2-40B4-BE49-F238E27FC236}">
                    <a16:creationId xmlns:a16="http://schemas.microsoft.com/office/drawing/2014/main" id="{BDE56437-557C-4D2A-922C-2208778863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98005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oke_LichtBlic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F380F37C-B55F-4B1E-85A9-642BBA4F59BB}"/>
              </a:ext>
            </a:extLst>
          </p:cNvPr>
          <p:cNvGrpSpPr/>
          <p:nvPr/>
        </p:nvGrpSpPr>
        <p:grpSpPr bwMode="gray">
          <a:xfrm>
            <a:off x="0" y="0"/>
            <a:ext cx="12192000" cy="6858000"/>
            <a:chOff x="5949952" y="0"/>
            <a:chExt cx="8924928" cy="6858000"/>
          </a:xfrm>
        </p:grpSpPr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51D96DC5-264D-4F98-8B9F-FEF747EDC747}"/>
                </a:ext>
              </a:extLst>
            </p:cNvPr>
            <p:cNvSpPr/>
            <p:nvPr userDrawn="1"/>
          </p:nvSpPr>
          <p:spPr bwMode="gray">
            <a:xfrm>
              <a:off x="5949952" y="0"/>
              <a:ext cx="1487488" cy="6858000"/>
            </a:xfrm>
            <a:prstGeom prst="rect">
              <a:avLst/>
            </a:pr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E33FDE03-4E40-458F-A6DA-F24ECF42F971}"/>
                </a:ext>
              </a:extLst>
            </p:cNvPr>
            <p:cNvSpPr/>
            <p:nvPr userDrawn="1"/>
          </p:nvSpPr>
          <p:spPr bwMode="gray">
            <a:xfrm>
              <a:off x="8924928" y="0"/>
              <a:ext cx="1487488" cy="6858000"/>
            </a:xfrm>
            <a:prstGeom prst="rect">
              <a:avLst/>
            </a:prstGeom>
            <a:solidFill>
              <a:schemeClr val="accent3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DC5EB745-0858-49CC-A0FE-29CBC776FA9E}"/>
                </a:ext>
              </a:extLst>
            </p:cNvPr>
            <p:cNvSpPr/>
            <p:nvPr userDrawn="1"/>
          </p:nvSpPr>
          <p:spPr bwMode="gray">
            <a:xfrm>
              <a:off x="7437440" y="0"/>
              <a:ext cx="1487488" cy="6858000"/>
            </a:xfrm>
            <a:prstGeom prst="rect">
              <a:avLst/>
            </a:prstGeom>
            <a:solidFill>
              <a:schemeClr val="accent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B3533DD8-1C73-4E77-A25E-8DB502C51672}"/>
                </a:ext>
              </a:extLst>
            </p:cNvPr>
            <p:cNvSpPr/>
            <p:nvPr userDrawn="1"/>
          </p:nvSpPr>
          <p:spPr bwMode="gray">
            <a:xfrm>
              <a:off x="10412416" y="0"/>
              <a:ext cx="1487488" cy="6858000"/>
            </a:xfrm>
            <a:prstGeom prst="rect">
              <a:avLst/>
            </a:prstGeom>
            <a:solidFill>
              <a:schemeClr val="accent4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D1547A31-ABF2-495E-9F4B-8DFBF25E488D}"/>
                </a:ext>
              </a:extLst>
            </p:cNvPr>
            <p:cNvSpPr/>
            <p:nvPr userDrawn="1"/>
          </p:nvSpPr>
          <p:spPr bwMode="gray">
            <a:xfrm>
              <a:off x="11899905" y="0"/>
              <a:ext cx="1487488" cy="6858000"/>
            </a:xfrm>
            <a:prstGeom prst="rect">
              <a:avLst/>
            </a:prstGeom>
            <a:solidFill>
              <a:schemeClr val="accent5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3EB218CB-88C3-468E-AF95-E8FE5922C203}"/>
                </a:ext>
              </a:extLst>
            </p:cNvPr>
            <p:cNvSpPr/>
            <p:nvPr userDrawn="1"/>
          </p:nvSpPr>
          <p:spPr bwMode="gray">
            <a:xfrm>
              <a:off x="13387392" y="0"/>
              <a:ext cx="1487488" cy="685800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31" name="Datumsplatzhalter 1">
            <a:extLst>
              <a:ext uri="{FF2B5EF4-FFF2-40B4-BE49-F238E27FC236}">
                <a16:creationId xmlns:a16="http://schemas.microsoft.com/office/drawing/2014/main" id="{1A4D56CF-0343-4911-9D23-19D20CB0D9A9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11160919" y="6491733"/>
            <a:ext cx="457993" cy="101671"/>
          </a:xfrm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r"/>
            <a:fld id="{E5BFD817-FCEA-4798-9FB7-ADF6C567A909}" type="datetime1">
              <a:rPr lang="de-DE" smtClean="0"/>
              <a:t>2022-01-13</a:t>
            </a:fld>
            <a:endParaRPr lang="de-DE"/>
          </a:p>
        </p:txBody>
      </p:sp>
      <p:sp>
        <p:nvSpPr>
          <p:cNvPr id="32" name="Fußzeilenplatzhalter 5">
            <a:extLst>
              <a:ext uri="{FF2B5EF4-FFF2-40B4-BE49-F238E27FC236}">
                <a16:creationId xmlns:a16="http://schemas.microsoft.com/office/drawing/2014/main" id="{521C6FE0-7BD8-4269-AF19-F3EF4843B3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8401051" y="6491733"/>
            <a:ext cx="2522534" cy="101671"/>
          </a:xfrm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33" name="Foliennummernplatzhalter 6">
            <a:extLst>
              <a:ext uri="{FF2B5EF4-FFF2-40B4-BE49-F238E27FC236}">
                <a16:creationId xmlns:a16="http://schemas.microsoft.com/office/drawing/2014/main" id="{ABB9D1A2-0A49-42C5-96D0-40A3E4DE8F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11725538" y="6491733"/>
            <a:ext cx="191824" cy="101671"/>
          </a:xfrm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67440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Text Handy Mock Up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FBB16B60-3BAB-46C5-AA60-2E059C5FA924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8138" y="1592263"/>
            <a:ext cx="4605338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2" name="Grafik 11" descr="Ein Bild, das Screenshot, Laptop, Monitor, Computer enthält.&#10;&#10;Automatisch generierte Beschreibung">
            <a:extLst>
              <a:ext uri="{FF2B5EF4-FFF2-40B4-BE49-F238E27FC236}">
                <a16:creationId xmlns:a16="http://schemas.microsoft.com/office/drawing/2014/main" id="{FA77D189-6797-4577-BAA8-586C620A049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9256" t="1596" r="17397" b="11922"/>
          <a:stretch/>
        </p:blipFill>
        <p:spPr>
          <a:xfrm>
            <a:off x="4664075" y="927099"/>
            <a:ext cx="7248525" cy="5930901"/>
          </a:xfrm>
          <a:prstGeom prst="rect">
            <a:avLst/>
          </a:prstGeom>
        </p:spPr>
      </p:pic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A3D237B3-D03E-4E3B-843B-878E7432337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13450" y="2308224"/>
            <a:ext cx="4924425" cy="3073401"/>
          </a:xfr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70EB910-E9BB-4098-920D-18DAC1BCAF1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3CA3D784-C973-4AF1-8E53-7B098B2DBD8E}" type="datetime1">
              <a:rPr lang="de-DE" smtClean="0"/>
              <a:t>2022-01-1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F2F0E9D-60A9-4F53-BA09-C1D4CC7AA0F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AAA1933-32F6-413A-B222-EEFB93717F2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Untertitel 2">
            <a:extLst>
              <a:ext uri="{FF2B5EF4-FFF2-40B4-BE49-F238E27FC236}">
                <a16:creationId xmlns:a16="http://schemas.microsoft.com/office/drawing/2014/main" id="{BD5AB9C7-E3A0-4376-9897-AD1BFB8938D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076463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Text iPad Mock Up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reihandform: Form 23">
            <a:extLst>
              <a:ext uri="{FF2B5EF4-FFF2-40B4-BE49-F238E27FC236}">
                <a16:creationId xmlns:a16="http://schemas.microsoft.com/office/drawing/2014/main" id="{5BC63CF1-AB2D-493B-90A3-E2C49E60720A}"/>
              </a:ext>
            </a:extLst>
          </p:cNvPr>
          <p:cNvSpPr>
            <a:spLocks/>
          </p:cNvSpPr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3429000 h 6858000"/>
              <a:gd name="connsiteX3" fmla="*/ 5883844 w 12192000"/>
              <a:gd name="connsiteY3" fmla="*/ 3429000 h 6858000"/>
              <a:gd name="connsiteX4" fmla="*/ 4943475 w 12192000"/>
              <a:gd name="connsiteY4" fmla="*/ 4369369 h 6858000"/>
              <a:gd name="connsiteX5" fmla="*/ 4943475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5883844" y="3429000"/>
                </a:lnTo>
                <a:cubicBezTo>
                  <a:pt x="5364493" y="3429000"/>
                  <a:pt x="4943475" y="3850018"/>
                  <a:pt x="4943475" y="4369369"/>
                </a:cubicBezTo>
                <a:lnTo>
                  <a:pt x="494347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8" name="Freihandform: Form 27">
            <a:extLst>
              <a:ext uri="{FF2B5EF4-FFF2-40B4-BE49-F238E27FC236}">
                <a16:creationId xmlns:a16="http://schemas.microsoft.com/office/drawing/2014/main" id="{5C3D82BE-3381-43FD-8C1F-5F4601CE32DB}"/>
              </a:ext>
            </a:extLst>
          </p:cNvPr>
          <p:cNvSpPr/>
          <p:nvPr/>
        </p:nvSpPr>
        <p:spPr>
          <a:xfrm flipH="1">
            <a:off x="5099343" y="3213933"/>
            <a:ext cx="7170708" cy="3748842"/>
          </a:xfrm>
          <a:custGeom>
            <a:avLst/>
            <a:gdLst>
              <a:gd name="connsiteX0" fmla="*/ 6132037 w 7170708"/>
              <a:gd name="connsiteY0" fmla="*/ 0 h 3748842"/>
              <a:gd name="connsiteX1" fmla="*/ 0 w 7170708"/>
              <a:gd name="connsiteY1" fmla="*/ 0 h 3748842"/>
              <a:gd name="connsiteX2" fmla="*/ 0 w 7170708"/>
              <a:gd name="connsiteY2" fmla="*/ 3748842 h 3748842"/>
              <a:gd name="connsiteX3" fmla="*/ 7170708 w 7170708"/>
              <a:gd name="connsiteY3" fmla="*/ 3748842 h 3748842"/>
              <a:gd name="connsiteX4" fmla="*/ 7170708 w 7170708"/>
              <a:gd name="connsiteY4" fmla="*/ 1038671 h 3748842"/>
              <a:gd name="connsiteX5" fmla="*/ 6132037 w 7170708"/>
              <a:gd name="connsiteY5" fmla="*/ 0 h 3748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170708" h="3748842">
                <a:moveTo>
                  <a:pt x="6132037" y="0"/>
                </a:moveTo>
                <a:lnTo>
                  <a:pt x="0" y="0"/>
                </a:lnTo>
                <a:lnTo>
                  <a:pt x="0" y="3748842"/>
                </a:lnTo>
                <a:lnTo>
                  <a:pt x="7170708" y="3748842"/>
                </a:lnTo>
                <a:lnTo>
                  <a:pt x="7170708" y="1038671"/>
                </a:lnTo>
                <a:cubicBezTo>
                  <a:pt x="7170708" y="465029"/>
                  <a:pt x="6705679" y="0"/>
                  <a:pt x="6132037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8138" y="1592263"/>
            <a:ext cx="4244975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7" name="Grafik 16" descr="Ein Bild, das Screenshot, Laptop, Monitor, Computer enthält.&#10;&#10;Automatisch generierte Beschreibung">
            <a:extLst>
              <a:ext uri="{FF2B5EF4-FFF2-40B4-BE49-F238E27FC236}">
                <a16:creationId xmlns:a16="http://schemas.microsoft.com/office/drawing/2014/main" id="{F975FC98-9C9A-4B54-BAA5-D026FFF13AE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9256" t="1596" r="17397" b="11922"/>
          <a:stretch/>
        </p:blipFill>
        <p:spPr>
          <a:xfrm>
            <a:off x="4664075" y="927099"/>
            <a:ext cx="7248525" cy="5930901"/>
          </a:xfrm>
          <a:prstGeom prst="rect">
            <a:avLst/>
          </a:prstGeom>
        </p:spPr>
      </p:pic>
      <p:sp>
        <p:nvSpPr>
          <p:cNvPr id="18" name="Bildplatzhalter 15">
            <a:extLst>
              <a:ext uri="{FF2B5EF4-FFF2-40B4-BE49-F238E27FC236}">
                <a16:creationId xmlns:a16="http://schemas.microsoft.com/office/drawing/2014/main" id="{AFAC29CB-6258-49F1-AEFE-48C4C763D58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13450" y="2308224"/>
            <a:ext cx="4924425" cy="3073401"/>
          </a:xfr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7A6C8F5-0559-4B3D-A642-2C4638D4E8E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9D26F785-F01D-49C5-90C4-9E6554A90A31}" type="datetime1">
              <a:rPr lang="de-DE" smtClean="0"/>
              <a:t>2022-01-1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9C13510-10A4-41C5-8ACF-EB970AA0B7A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A8607A9F-7336-4B10-9A47-B08A47C9013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9FED8C54-FAC3-4862-9B8D-DE240B68C898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5" cy="635012"/>
          </a:xfrm>
        </p:grpSpPr>
        <p:sp>
          <p:nvSpPr>
            <p:cNvPr id="12" name="Oval 5">
              <a:extLst>
                <a:ext uri="{FF2B5EF4-FFF2-40B4-BE49-F238E27FC236}">
                  <a16:creationId xmlns:a16="http://schemas.microsoft.com/office/drawing/2014/main" id="{618A242A-4252-4D1B-815B-B50970AB97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42F15D90-51AE-42BE-9523-CD3B8E3320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26A914C2-F17F-4D57-BA1C-16F80E685638}"/>
                </a:ext>
              </a:extLst>
            </p:cNvPr>
            <p:cNvGrpSpPr/>
            <p:nvPr/>
          </p:nvGrpSpPr>
          <p:grpSpPr>
            <a:xfrm>
              <a:off x="1311216" y="1530579"/>
              <a:ext cx="1533582" cy="307590"/>
              <a:chOff x="3987943" y="2307132"/>
              <a:chExt cx="2607166" cy="522910"/>
            </a:xfrm>
          </p:grpSpPr>
          <p:sp>
            <p:nvSpPr>
              <p:cNvPr id="15" name="Freeform 7">
                <a:extLst>
                  <a:ext uri="{FF2B5EF4-FFF2-40B4-BE49-F238E27FC236}">
                    <a16:creationId xmlns:a16="http://schemas.microsoft.com/office/drawing/2014/main" id="{4E7333A9-F536-43FC-ABA8-4A162CBED9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6" name="Freeform 8">
                <a:extLst>
                  <a:ext uri="{FF2B5EF4-FFF2-40B4-BE49-F238E27FC236}">
                    <a16:creationId xmlns:a16="http://schemas.microsoft.com/office/drawing/2014/main" id="{313E2420-E184-49F6-8BFA-375E9544E8C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9">
                <a:extLst>
                  <a:ext uri="{FF2B5EF4-FFF2-40B4-BE49-F238E27FC236}">
                    <a16:creationId xmlns:a16="http://schemas.microsoft.com/office/drawing/2014/main" id="{01C04114-EC10-47A0-81C9-9838F74193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0">
                <a:extLst>
                  <a:ext uri="{FF2B5EF4-FFF2-40B4-BE49-F238E27FC236}">
                    <a16:creationId xmlns:a16="http://schemas.microsoft.com/office/drawing/2014/main" id="{8643CAF3-5E79-4D28-B7EB-070C2194D4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1">
                <a:extLst>
                  <a:ext uri="{FF2B5EF4-FFF2-40B4-BE49-F238E27FC236}">
                    <a16:creationId xmlns:a16="http://schemas.microsoft.com/office/drawing/2014/main" id="{2295F6D0-883B-49BE-B001-CED3629ED5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2">
                <a:extLst>
                  <a:ext uri="{FF2B5EF4-FFF2-40B4-BE49-F238E27FC236}">
                    <a16:creationId xmlns:a16="http://schemas.microsoft.com/office/drawing/2014/main" id="{BC0F5639-ECB9-4517-8CDE-69479470C2E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3">
                <a:extLst>
                  <a:ext uri="{FF2B5EF4-FFF2-40B4-BE49-F238E27FC236}">
                    <a16:creationId xmlns:a16="http://schemas.microsoft.com/office/drawing/2014/main" id="{C159270D-DF8D-4AC3-8363-CCAC82EFE2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4">
                <a:extLst>
                  <a:ext uri="{FF2B5EF4-FFF2-40B4-BE49-F238E27FC236}">
                    <a16:creationId xmlns:a16="http://schemas.microsoft.com/office/drawing/2014/main" id="{38301C80-BCB6-4108-9076-400D64B6E53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5">
                <a:extLst>
                  <a:ext uri="{FF2B5EF4-FFF2-40B4-BE49-F238E27FC236}">
                    <a16:creationId xmlns:a16="http://schemas.microsoft.com/office/drawing/2014/main" id="{D0B10E0F-1854-4556-B36F-842D6CD836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6">
                <a:extLst>
                  <a:ext uri="{FF2B5EF4-FFF2-40B4-BE49-F238E27FC236}">
                    <a16:creationId xmlns:a16="http://schemas.microsoft.com/office/drawing/2014/main" id="{DB35A381-AE18-43BE-A680-D2E071507F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9" name="Untertitel 2">
            <a:extLst>
              <a:ext uri="{FF2B5EF4-FFF2-40B4-BE49-F238E27FC236}">
                <a16:creationId xmlns:a16="http://schemas.microsoft.com/office/drawing/2014/main" id="{357BC088-7F0D-4DFF-AD47-F71E0C0B2E9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267040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Vollbil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5A0E8ACE-F208-4580-9945-A7005B3E229F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34DB811-0D8A-421A-9CDD-47BCA68CAF03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911225" y="6310313"/>
            <a:ext cx="1114412" cy="216000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smtClean="0"/>
            </a:lvl1pPr>
          </a:lstStyle>
          <a:p>
            <a:pPr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fld id="{5FE44B48-62BC-4DAE-8A9D-F13435DE1879}" type="datetime1">
              <a:rPr lang="de-DE" smtClean="0"/>
              <a:t>2022-01-13</a:t>
            </a:fld>
            <a:endParaRPr lang="de-DE"/>
          </a:p>
        </p:txBody>
      </p:sp>
      <p:sp>
        <p:nvSpPr>
          <p:cNvPr id="26" name="Bildplatzhalter 25">
            <a:extLst>
              <a:ext uri="{FF2B5EF4-FFF2-40B4-BE49-F238E27FC236}">
                <a16:creationId xmlns:a16="http://schemas.microsoft.com/office/drawing/2014/main" id="{A00D384B-B3AA-4CCF-85B7-8EDB1E746B6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7248524 w 12192000"/>
              <a:gd name="connsiteY3" fmla="*/ 6858000 h 6858000"/>
              <a:gd name="connsiteX4" fmla="*/ 7248524 w 12192000"/>
              <a:gd name="connsiteY4" fmla="*/ 4602507 h 6858000"/>
              <a:gd name="connsiteX5" fmla="*/ 6075018 w 12192000"/>
              <a:gd name="connsiteY5" fmla="*/ 3429000 h 6858000"/>
              <a:gd name="connsiteX6" fmla="*/ 317438 w 12192000"/>
              <a:gd name="connsiteY6" fmla="*/ 3429000 h 6858000"/>
              <a:gd name="connsiteX7" fmla="*/ 6677 w 12192000"/>
              <a:gd name="connsiteY7" fmla="*/ 3429000 h 6858000"/>
              <a:gd name="connsiteX8" fmla="*/ 0 w 12192000"/>
              <a:gd name="connsiteY8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7248524" y="6858000"/>
                </a:lnTo>
                <a:lnTo>
                  <a:pt x="7248524" y="4602507"/>
                </a:lnTo>
                <a:cubicBezTo>
                  <a:pt x="7248524" y="3954397"/>
                  <a:pt x="6723127" y="3429000"/>
                  <a:pt x="6075018" y="3429000"/>
                </a:cubicBezTo>
                <a:lnTo>
                  <a:pt x="317438" y="3429000"/>
                </a:lnTo>
                <a:lnTo>
                  <a:pt x="6677" y="3429000"/>
                </a:lnTo>
                <a:lnTo>
                  <a:pt x="0" y="342900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225" y="4318000"/>
            <a:ext cx="5184775" cy="1673225"/>
          </a:xfrm>
        </p:spPr>
        <p:txBody>
          <a:bodyPr anchor="t"/>
          <a:lstStyle>
            <a:lvl1pPr>
              <a:lnSpc>
                <a:spcPct val="80000"/>
              </a:lnSpc>
              <a:defRPr sz="5400"/>
            </a:lvl1pPr>
            <a:lvl2pPr>
              <a:lnSpc>
                <a:spcPct val="80000"/>
              </a:lnSpc>
              <a:defRPr sz="5400"/>
            </a:lvl2pPr>
            <a:lvl3pPr>
              <a:lnSpc>
                <a:spcPct val="80000"/>
              </a:lnSpc>
              <a:defRPr sz="5400"/>
            </a:lvl3pPr>
            <a:lvl4pPr>
              <a:lnSpc>
                <a:spcPct val="80000"/>
              </a:lnSpc>
              <a:defRPr sz="5400"/>
            </a:lvl4pPr>
            <a:lvl5pPr>
              <a:lnSpc>
                <a:spcPct val="80000"/>
              </a:lnSpc>
              <a:defRPr sz="5400"/>
            </a:lvl5pPr>
            <a:lvl6pPr>
              <a:lnSpc>
                <a:spcPct val="80000"/>
              </a:lnSpc>
              <a:defRPr sz="5400"/>
            </a:lvl6pPr>
            <a:lvl7pPr>
              <a:lnSpc>
                <a:spcPct val="80000"/>
              </a:lnSpc>
              <a:defRPr sz="5400"/>
            </a:lvl7pPr>
            <a:lvl8pPr>
              <a:lnSpc>
                <a:spcPct val="80000"/>
              </a:lnSpc>
              <a:defRPr sz="5400"/>
            </a:lvl8pPr>
            <a:lvl9pPr>
              <a:lnSpc>
                <a:spcPct val="80000"/>
              </a:lnSpc>
              <a:defRPr sz="5400"/>
            </a:lvl9pPr>
          </a:lstStyle>
          <a:p>
            <a:pPr lvl="0"/>
            <a:r>
              <a:rPr lang="de-DE"/>
              <a:t>Präsentations-</a:t>
            </a:r>
            <a:br>
              <a:rPr lang="de-DE"/>
            </a:br>
            <a:r>
              <a:rPr lang="de-DE" err="1"/>
              <a:t>titel</a:t>
            </a:r>
            <a:endParaRPr lang="de-DE"/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16C1E5B9-FEB6-4AA6-BD6B-F927D33B7586}"/>
              </a:ext>
            </a:extLst>
          </p:cNvPr>
          <p:cNvGrpSpPr/>
          <p:nvPr/>
        </p:nvGrpSpPr>
        <p:grpSpPr>
          <a:xfrm>
            <a:off x="911225" y="3830191"/>
            <a:ext cx="1011508" cy="269876"/>
            <a:chOff x="464743" y="1368699"/>
            <a:chExt cx="2380058" cy="635012"/>
          </a:xfrm>
        </p:grpSpPr>
        <p:sp>
          <p:nvSpPr>
            <p:cNvPr id="13" name="Oval 5">
              <a:extLst>
                <a:ext uri="{FF2B5EF4-FFF2-40B4-BE49-F238E27FC236}">
                  <a16:creationId xmlns:a16="http://schemas.microsoft.com/office/drawing/2014/main" id="{A63FDF46-9240-4989-8BD0-C8E6ACCDA8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BCEEBEBB-AF39-4FA0-BF2A-C2F67F3089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706779D2-753C-408C-8D8F-2EA69C718621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16" name="Freeform 7">
                <a:extLst>
                  <a:ext uri="{FF2B5EF4-FFF2-40B4-BE49-F238E27FC236}">
                    <a16:creationId xmlns:a16="http://schemas.microsoft.com/office/drawing/2014/main" id="{80064577-26DD-4C45-9CA7-CA84B29940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8">
                <a:extLst>
                  <a:ext uri="{FF2B5EF4-FFF2-40B4-BE49-F238E27FC236}">
                    <a16:creationId xmlns:a16="http://schemas.microsoft.com/office/drawing/2014/main" id="{9D448FEE-A734-446E-B740-78A968A27C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9">
                <a:extLst>
                  <a:ext uri="{FF2B5EF4-FFF2-40B4-BE49-F238E27FC236}">
                    <a16:creationId xmlns:a16="http://schemas.microsoft.com/office/drawing/2014/main" id="{888D8F5D-79D7-4B65-A82D-00FF784BBD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0">
                <a:extLst>
                  <a:ext uri="{FF2B5EF4-FFF2-40B4-BE49-F238E27FC236}">
                    <a16:creationId xmlns:a16="http://schemas.microsoft.com/office/drawing/2014/main" id="{C200D8BD-ED64-4635-B9AE-FBB6DE7A03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1">
                <a:extLst>
                  <a:ext uri="{FF2B5EF4-FFF2-40B4-BE49-F238E27FC236}">
                    <a16:creationId xmlns:a16="http://schemas.microsoft.com/office/drawing/2014/main" id="{4AF606B8-E6F5-4239-AF0E-C3B1CB66F7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2">
                <a:extLst>
                  <a:ext uri="{FF2B5EF4-FFF2-40B4-BE49-F238E27FC236}">
                    <a16:creationId xmlns:a16="http://schemas.microsoft.com/office/drawing/2014/main" id="{4FA34997-3170-4E22-BE0E-39B040570F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3">
                <a:extLst>
                  <a:ext uri="{FF2B5EF4-FFF2-40B4-BE49-F238E27FC236}">
                    <a16:creationId xmlns:a16="http://schemas.microsoft.com/office/drawing/2014/main" id="{E0899F0A-43C2-4A2B-BB23-92FD4E59A0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4">
                <a:extLst>
                  <a:ext uri="{FF2B5EF4-FFF2-40B4-BE49-F238E27FC236}">
                    <a16:creationId xmlns:a16="http://schemas.microsoft.com/office/drawing/2014/main" id="{002B1808-6EF8-43A6-98A3-F218A91060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5">
                <a:extLst>
                  <a:ext uri="{FF2B5EF4-FFF2-40B4-BE49-F238E27FC236}">
                    <a16:creationId xmlns:a16="http://schemas.microsoft.com/office/drawing/2014/main" id="{E469321C-D642-4F96-AE63-CD87201D47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6">
                <a:extLst>
                  <a:ext uri="{FF2B5EF4-FFF2-40B4-BE49-F238E27FC236}">
                    <a16:creationId xmlns:a16="http://schemas.microsoft.com/office/drawing/2014/main" id="{4D226FE2-5036-43B8-8F8D-521582CD79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Textplatzhalter 9">
            <a:extLst>
              <a:ext uri="{FF2B5EF4-FFF2-40B4-BE49-F238E27FC236}">
                <a16:creationId xmlns:a16="http://schemas.microsoft.com/office/drawing/2014/main" id="{A3575644-C415-4736-A0BA-E98385D01B2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79048" y="6310313"/>
            <a:ext cx="3816952" cy="216000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Sprecher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3481B9A9-736B-4492-98F4-CFFBBB93D83D}"/>
              </a:ext>
            </a:extLst>
          </p:cNvPr>
          <p:cNvCxnSpPr/>
          <p:nvPr/>
        </p:nvCxnSpPr>
        <p:spPr>
          <a:xfrm>
            <a:off x="2083772" y="6310313"/>
            <a:ext cx="0" cy="17938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437FBB7-9757-4A42-823D-017F0EC58B9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8401051" y="7075933"/>
            <a:ext cx="2522534" cy="101671"/>
          </a:xfrm>
        </p:spPr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7483039-7586-475E-BC6A-3A8359872F8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725538" y="7075933"/>
            <a:ext cx="191824" cy="101671"/>
          </a:xfrm>
        </p:spPr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67315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ck Ups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>
            <a:extLst>
              <a:ext uri="{FF2B5EF4-FFF2-40B4-BE49-F238E27FC236}">
                <a16:creationId xmlns:a16="http://schemas.microsoft.com/office/drawing/2014/main" id="{42557854-CFB7-40F5-BE2E-2E3FE32E7336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70EB910-E9BB-4098-920D-18DAC1BCAF1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30B180F7-D886-4DC6-BAE9-C99EC98EB940}" type="datetime1">
              <a:rPr lang="de-DE" smtClean="0"/>
              <a:t>2022-01-1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F2F0E9D-60A9-4F53-BA09-C1D4CC7AA0F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AAA1933-32F6-413A-B222-EEFB93717F2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3" name="Grafik 12" descr="Ein Bild, das Screenshot, Laptop, Monitor, Computer enthält.&#10;&#10;Automatisch generierte Beschreibung">
            <a:extLst>
              <a:ext uri="{FF2B5EF4-FFF2-40B4-BE49-F238E27FC236}">
                <a16:creationId xmlns:a16="http://schemas.microsoft.com/office/drawing/2014/main" id="{274B7DAE-D42C-43A7-AB86-58AE8C71161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9256" t="17496" r="17397" b="11922"/>
          <a:stretch/>
        </p:blipFill>
        <p:spPr>
          <a:xfrm>
            <a:off x="603314" y="1544713"/>
            <a:ext cx="8079717" cy="5395499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4DE50EBE-0732-4A1B-8ED1-6A2DB92F9FD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2196" t="11127" r="28438"/>
          <a:stretch/>
        </p:blipFill>
        <p:spPr>
          <a:xfrm>
            <a:off x="5929809" y="2113191"/>
            <a:ext cx="5024002" cy="4827021"/>
          </a:xfrm>
          <a:prstGeom prst="rect">
            <a:avLst/>
          </a:prstGeom>
        </p:spPr>
      </p:pic>
      <p:sp>
        <p:nvSpPr>
          <p:cNvPr id="25" name="Bildplatzhalter 24">
            <a:extLst>
              <a:ext uri="{FF2B5EF4-FFF2-40B4-BE49-F238E27FC236}">
                <a16:creationId xmlns:a16="http://schemas.microsoft.com/office/drawing/2014/main" id="{BA7F5975-2F43-434A-A628-CA5A5F191F8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107423" y="1868711"/>
            <a:ext cx="5489111" cy="3425829"/>
          </a:xfrm>
          <a:custGeom>
            <a:avLst/>
            <a:gdLst>
              <a:gd name="connsiteX0" fmla="*/ 0 w 5489111"/>
              <a:gd name="connsiteY0" fmla="*/ 0 h 3425829"/>
              <a:gd name="connsiteX1" fmla="*/ 5489111 w 5489111"/>
              <a:gd name="connsiteY1" fmla="*/ 0 h 3425829"/>
              <a:gd name="connsiteX2" fmla="*/ 5489111 w 5489111"/>
              <a:gd name="connsiteY2" fmla="*/ 2258813 h 3425829"/>
              <a:gd name="connsiteX3" fmla="*/ 4839123 w 5489111"/>
              <a:gd name="connsiteY3" fmla="*/ 2258788 h 3425829"/>
              <a:gd name="connsiteX4" fmla="*/ 4750322 w 5489111"/>
              <a:gd name="connsiteY4" fmla="*/ 2284867 h 3425829"/>
              <a:gd name="connsiteX5" fmla="*/ 4682035 w 5489111"/>
              <a:gd name="connsiteY5" fmla="*/ 2398573 h 3425829"/>
              <a:gd name="connsiteX6" fmla="*/ 4681617 w 5489111"/>
              <a:gd name="connsiteY6" fmla="*/ 2410092 h 3425829"/>
              <a:gd name="connsiteX7" fmla="*/ 4681599 w 5489111"/>
              <a:gd name="connsiteY7" fmla="*/ 2572763 h 3425829"/>
              <a:gd name="connsiteX8" fmla="*/ 4681599 w 5489111"/>
              <a:gd name="connsiteY8" fmla="*/ 2579897 h 3425829"/>
              <a:gd name="connsiteX9" fmla="*/ 4676100 w 5489111"/>
              <a:gd name="connsiteY9" fmla="*/ 2588768 h 3425829"/>
              <a:gd name="connsiteX10" fmla="*/ 4676142 w 5489111"/>
              <a:gd name="connsiteY10" fmla="*/ 2659787 h 3425829"/>
              <a:gd name="connsiteX11" fmla="*/ 4681095 w 5489111"/>
              <a:gd name="connsiteY11" fmla="*/ 2666770 h 3425829"/>
              <a:gd name="connsiteX12" fmla="*/ 4681095 w 5489111"/>
              <a:gd name="connsiteY12" fmla="*/ 2741680 h 3425829"/>
              <a:gd name="connsiteX13" fmla="*/ 4671996 w 5489111"/>
              <a:gd name="connsiteY13" fmla="*/ 2745494 h 3425829"/>
              <a:gd name="connsiteX14" fmla="*/ 4671996 w 5489111"/>
              <a:gd name="connsiteY14" fmla="*/ 2885114 h 3425829"/>
              <a:gd name="connsiteX15" fmla="*/ 4681174 w 5489111"/>
              <a:gd name="connsiteY15" fmla="*/ 2889262 h 3425829"/>
              <a:gd name="connsiteX16" fmla="*/ 4681174 w 5489111"/>
              <a:gd name="connsiteY16" fmla="*/ 2924571 h 3425829"/>
              <a:gd name="connsiteX17" fmla="*/ 4671996 w 5489111"/>
              <a:gd name="connsiteY17" fmla="*/ 2928815 h 3425829"/>
              <a:gd name="connsiteX18" fmla="*/ 4671996 w 5489111"/>
              <a:gd name="connsiteY18" fmla="*/ 3068437 h 3425829"/>
              <a:gd name="connsiteX19" fmla="*/ 4681599 w 5489111"/>
              <a:gd name="connsiteY19" fmla="*/ 3071891 h 3425829"/>
              <a:gd name="connsiteX20" fmla="*/ 4681599 w 5489111"/>
              <a:gd name="connsiteY20" fmla="*/ 3079742 h 3425829"/>
              <a:gd name="connsiteX21" fmla="*/ 4681532 w 5489111"/>
              <a:gd name="connsiteY21" fmla="*/ 3425829 h 3425829"/>
              <a:gd name="connsiteX22" fmla="*/ 0 w 5489111"/>
              <a:gd name="connsiteY22" fmla="*/ 3425829 h 3425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5489111" h="3425829">
                <a:moveTo>
                  <a:pt x="0" y="0"/>
                </a:moveTo>
                <a:lnTo>
                  <a:pt x="5489111" y="0"/>
                </a:lnTo>
                <a:lnTo>
                  <a:pt x="5489111" y="2258813"/>
                </a:lnTo>
                <a:lnTo>
                  <a:pt x="4839123" y="2258788"/>
                </a:lnTo>
                <a:cubicBezTo>
                  <a:pt x="4806911" y="2258782"/>
                  <a:pt x="4777017" y="2266657"/>
                  <a:pt x="4750322" y="2284867"/>
                </a:cubicBezTo>
                <a:cubicBezTo>
                  <a:pt x="4710224" y="2312222"/>
                  <a:pt x="4687553" y="2350312"/>
                  <a:pt x="4682035" y="2398573"/>
                </a:cubicBezTo>
                <a:cubicBezTo>
                  <a:pt x="4681605" y="2402380"/>
                  <a:pt x="4681617" y="2406254"/>
                  <a:pt x="4681617" y="2410092"/>
                </a:cubicBezTo>
                <a:cubicBezTo>
                  <a:pt x="4681592" y="2464315"/>
                  <a:pt x="4681599" y="2518539"/>
                  <a:pt x="4681599" y="2572763"/>
                </a:cubicBezTo>
                <a:cubicBezTo>
                  <a:pt x="4681599" y="2574979"/>
                  <a:pt x="4681599" y="2577201"/>
                  <a:pt x="4681599" y="2579897"/>
                </a:cubicBezTo>
                <a:cubicBezTo>
                  <a:pt x="4676639" y="2580856"/>
                  <a:pt x="4676063" y="2584293"/>
                  <a:pt x="4676100" y="2588768"/>
                </a:cubicBezTo>
                <a:cubicBezTo>
                  <a:pt x="4676299" y="2612437"/>
                  <a:pt x="4676245" y="2636112"/>
                  <a:pt x="4676142" y="2659787"/>
                </a:cubicBezTo>
                <a:cubicBezTo>
                  <a:pt x="4676123" y="2663448"/>
                  <a:pt x="4676767" y="2666223"/>
                  <a:pt x="4681095" y="2666770"/>
                </a:cubicBezTo>
                <a:cubicBezTo>
                  <a:pt x="4681095" y="2691993"/>
                  <a:pt x="4681095" y="2716992"/>
                  <a:pt x="4681095" y="2741680"/>
                </a:cubicBezTo>
                <a:cubicBezTo>
                  <a:pt x="4677805" y="2743059"/>
                  <a:pt x="4674904" y="2744274"/>
                  <a:pt x="4671996" y="2745494"/>
                </a:cubicBezTo>
                <a:cubicBezTo>
                  <a:pt x="4671996" y="2792037"/>
                  <a:pt x="4671996" y="2838573"/>
                  <a:pt x="4671996" y="2885114"/>
                </a:cubicBezTo>
                <a:cubicBezTo>
                  <a:pt x="4674843" y="2886402"/>
                  <a:pt x="4677690" y="2887696"/>
                  <a:pt x="4681174" y="2889262"/>
                </a:cubicBezTo>
                <a:cubicBezTo>
                  <a:pt x="4681174" y="2900684"/>
                  <a:pt x="4681174" y="2912821"/>
                  <a:pt x="4681174" y="2924571"/>
                </a:cubicBezTo>
                <a:cubicBezTo>
                  <a:pt x="4678000" y="2926041"/>
                  <a:pt x="4675000" y="2927425"/>
                  <a:pt x="4671996" y="2928815"/>
                </a:cubicBezTo>
                <a:cubicBezTo>
                  <a:pt x="4671996" y="2975358"/>
                  <a:pt x="4671996" y="3021894"/>
                  <a:pt x="4671996" y="3068437"/>
                </a:cubicBezTo>
                <a:cubicBezTo>
                  <a:pt x="4674946" y="3069499"/>
                  <a:pt x="4677902" y="3070562"/>
                  <a:pt x="4681599" y="3071891"/>
                </a:cubicBezTo>
                <a:cubicBezTo>
                  <a:pt x="4681599" y="3074150"/>
                  <a:pt x="4681599" y="3076950"/>
                  <a:pt x="4681599" y="3079742"/>
                </a:cubicBezTo>
                <a:lnTo>
                  <a:pt x="4681532" y="3425829"/>
                </a:lnTo>
                <a:lnTo>
                  <a:pt x="0" y="3425829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01B8DF7D-187D-4366-AAFF-1729A720A270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712602" y="2305552"/>
            <a:ext cx="2803684" cy="3736569"/>
          </a:xfrm>
          <a:custGeom>
            <a:avLst/>
            <a:gdLst>
              <a:gd name="connsiteX0" fmla="*/ 50578 w 2803684"/>
              <a:gd name="connsiteY0" fmla="*/ 0 h 3736569"/>
              <a:gd name="connsiteX1" fmla="*/ 2753106 w 2803684"/>
              <a:gd name="connsiteY1" fmla="*/ 0 h 3736569"/>
              <a:gd name="connsiteX2" fmla="*/ 2803684 w 2803684"/>
              <a:gd name="connsiteY2" fmla="*/ 50578 h 3736569"/>
              <a:gd name="connsiteX3" fmla="*/ 2803684 w 2803684"/>
              <a:gd name="connsiteY3" fmla="*/ 3685991 h 3736569"/>
              <a:gd name="connsiteX4" fmla="*/ 2753106 w 2803684"/>
              <a:gd name="connsiteY4" fmla="*/ 3736569 h 3736569"/>
              <a:gd name="connsiteX5" fmla="*/ 162509 w 2803684"/>
              <a:gd name="connsiteY5" fmla="*/ 3736569 h 3736569"/>
              <a:gd name="connsiteX6" fmla="*/ 162509 w 2803684"/>
              <a:gd name="connsiteY6" fmla="*/ 2607094 h 3736569"/>
              <a:gd name="connsiteX7" fmla="*/ 162509 w 2803684"/>
              <a:gd name="connsiteY7" fmla="*/ 2598290 h 3736569"/>
              <a:gd name="connsiteX8" fmla="*/ 163607 w 2803684"/>
              <a:gd name="connsiteY8" fmla="*/ 2597173 h 3736569"/>
              <a:gd name="connsiteX9" fmla="*/ 170921 w 2803684"/>
              <a:gd name="connsiteY9" fmla="*/ 2588040 h 3736569"/>
              <a:gd name="connsiteX10" fmla="*/ 170921 w 2803684"/>
              <a:gd name="connsiteY10" fmla="*/ 2317324 h 3736569"/>
              <a:gd name="connsiteX11" fmla="*/ 162502 w 2803684"/>
              <a:gd name="connsiteY11" fmla="*/ 2307008 h 3736569"/>
              <a:gd name="connsiteX12" fmla="*/ 162502 w 2803684"/>
              <a:gd name="connsiteY12" fmla="*/ 2299369 h 3736569"/>
              <a:gd name="connsiteX13" fmla="*/ 162435 w 2803684"/>
              <a:gd name="connsiteY13" fmla="*/ 1976451 h 3736569"/>
              <a:gd name="connsiteX14" fmla="*/ 116232 w 2803684"/>
              <a:gd name="connsiteY14" fmla="*/ 1866480 h 3736569"/>
              <a:gd name="connsiteX15" fmla="*/ 10999 w 2803684"/>
              <a:gd name="connsiteY15" fmla="*/ 1822020 h 3736569"/>
              <a:gd name="connsiteX16" fmla="*/ 4935 w 2803684"/>
              <a:gd name="connsiteY16" fmla="*/ 1821977 h 3736569"/>
              <a:gd name="connsiteX17" fmla="*/ 0 w 2803684"/>
              <a:gd name="connsiteY17" fmla="*/ 1821977 h 3736569"/>
              <a:gd name="connsiteX18" fmla="*/ 0 w 2803684"/>
              <a:gd name="connsiteY18" fmla="*/ 50578 h 3736569"/>
              <a:gd name="connsiteX19" fmla="*/ 50578 w 2803684"/>
              <a:gd name="connsiteY19" fmla="*/ 0 h 37365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2803684" h="3736569">
                <a:moveTo>
                  <a:pt x="50578" y="0"/>
                </a:moveTo>
                <a:lnTo>
                  <a:pt x="2753106" y="0"/>
                </a:lnTo>
                <a:cubicBezTo>
                  <a:pt x="2781039" y="0"/>
                  <a:pt x="2803684" y="22645"/>
                  <a:pt x="2803684" y="50578"/>
                </a:cubicBezTo>
                <a:lnTo>
                  <a:pt x="2803684" y="3685991"/>
                </a:lnTo>
                <a:cubicBezTo>
                  <a:pt x="2803684" y="3713924"/>
                  <a:pt x="2781039" y="3736569"/>
                  <a:pt x="2753106" y="3736569"/>
                </a:cubicBezTo>
                <a:lnTo>
                  <a:pt x="162509" y="3736569"/>
                </a:lnTo>
                <a:lnTo>
                  <a:pt x="162509" y="2607094"/>
                </a:lnTo>
                <a:cubicBezTo>
                  <a:pt x="162509" y="2604064"/>
                  <a:pt x="162509" y="2601040"/>
                  <a:pt x="162509" y="2598290"/>
                </a:cubicBezTo>
                <a:cubicBezTo>
                  <a:pt x="163048" y="2597719"/>
                  <a:pt x="163279" y="2597252"/>
                  <a:pt x="163607" y="2597173"/>
                </a:cubicBezTo>
                <a:cubicBezTo>
                  <a:pt x="170903" y="2595448"/>
                  <a:pt x="170921" y="2595460"/>
                  <a:pt x="170921" y="2588040"/>
                </a:cubicBezTo>
                <a:cubicBezTo>
                  <a:pt x="170927" y="2497804"/>
                  <a:pt x="170921" y="2407560"/>
                  <a:pt x="170921" y="2317324"/>
                </a:cubicBezTo>
                <a:cubicBezTo>
                  <a:pt x="170921" y="2309230"/>
                  <a:pt x="170909" y="2309230"/>
                  <a:pt x="162502" y="2307008"/>
                </a:cubicBezTo>
                <a:cubicBezTo>
                  <a:pt x="162502" y="2304560"/>
                  <a:pt x="162502" y="2301961"/>
                  <a:pt x="162502" y="2299369"/>
                </a:cubicBezTo>
                <a:cubicBezTo>
                  <a:pt x="162496" y="2191729"/>
                  <a:pt x="162624" y="2084090"/>
                  <a:pt x="162435" y="1976451"/>
                </a:cubicBezTo>
                <a:cubicBezTo>
                  <a:pt x="162363" y="1933485"/>
                  <a:pt x="146733" y="1896621"/>
                  <a:pt x="116232" y="1866480"/>
                </a:cubicBezTo>
                <a:cubicBezTo>
                  <a:pt x="87181" y="1837771"/>
                  <a:pt x="51752" y="1823380"/>
                  <a:pt x="10999" y="1822020"/>
                </a:cubicBezTo>
                <a:cubicBezTo>
                  <a:pt x="8978" y="1821953"/>
                  <a:pt x="6957" y="1821977"/>
                  <a:pt x="4935" y="1821977"/>
                </a:cubicBezTo>
                <a:lnTo>
                  <a:pt x="0" y="1821977"/>
                </a:lnTo>
                <a:lnTo>
                  <a:pt x="0" y="50578"/>
                </a:lnTo>
                <a:cubicBezTo>
                  <a:pt x="0" y="22645"/>
                  <a:pt x="22645" y="0"/>
                  <a:pt x="50578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pic>
        <p:nvPicPr>
          <p:cNvPr id="20" name="Grafik 19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7520ED33-6FFC-499F-AF20-DFC3D141147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21937" y="4121602"/>
            <a:ext cx="1750019" cy="2711314"/>
          </a:xfrm>
          <a:prstGeom prst="rect">
            <a:avLst/>
          </a:prstGeom>
        </p:spPr>
      </p:pic>
      <p:sp>
        <p:nvSpPr>
          <p:cNvPr id="26" name="Bildplatzhalter 47">
            <a:extLst>
              <a:ext uri="{FF2B5EF4-FFF2-40B4-BE49-F238E27FC236}">
                <a16:creationId xmlns:a16="http://schemas.microsoft.com/office/drawing/2014/main" id="{E0128E7F-A8D7-4916-93FD-7AB5101C9FD0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6849328" y="4185544"/>
            <a:ext cx="966123" cy="2086238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 sz="1000"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15" name="Untertitel 2">
            <a:extLst>
              <a:ext uri="{FF2B5EF4-FFF2-40B4-BE49-F238E27FC236}">
                <a16:creationId xmlns:a16="http://schemas.microsoft.com/office/drawing/2014/main" id="{0A61A0E5-CD93-4E9C-8F85-745F3E5C0DF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194720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Bilder Inhal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496294BF-D3D0-4802-AC90-6B34E21A471A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2C40E76C-945F-4CFF-AF64-9F4AFBE031EE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DC92EF49-6770-4821-85BD-6B58BC2A37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F36EF048-6182-46E6-8FD1-9B53FFDF399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D131AAE3-7275-45DF-A769-EAF56E6801CA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5E1A07C7-D4A9-4D9C-BF1E-2F347913A4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8">
                <a:extLst>
                  <a:ext uri="{FF2B5EF4-FFF2-40B4-BE49-F238E27FC236}">
                    <a16:creationId xmlns:a16="http://schemas.microsoft.com/office/drawing/2014/main" id="{5FE140FB-ECB4-439D-BF7A-348D7592C41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9">
                <a:extLst>
                  <a:ext uri="{FF2B5EF4-FFF2-40B4-BE49-F238E27FC236}">
                    <a16:creationId xmlns:a16="http://schemas.microsoft.com/office/drawing/2014/main" id="{4AD64196-CF34-4AD0-A16E-5539B10016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0">
                <a:extLst>
                  <a:ext uri="{FF2B5EF4-FFF2-40B4-BE49-F238E27FC236}">
                    <a16:creationId xmlns:a16="http://schemas.microsoft.com/office/drawing/2014/main" id="{F414E838-E68E-4F8F-9508-065C7A4E81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1">
                <a:extLst>
                  <a:ext uri="{FF2B5EF4-FFF2-40B4-BE49-F238E27FC236}">
                    <a16:creationId xmlns:a16="http://schemas.microsoft.com/office/drawing/2014/main" id="{50B37B52-58A7-4290-B58A-6D0AD767A2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9" name="Freeform 12">
                <a:extLst>
                  <a:ext uri="{FF2B5EF4-FFF2-40B4-BE49-F238E27FC236}">
                    <a16:creationId xmlns:a16="http://schemas.microsoft.com/office/drawing/2014/main" id="{09B8253D-2FF1-4631-B01A-1BB370558AE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3">
                <a:extLst>
                  <a:ext uri="{FF2B5EF4-FFF2-40B4-BE49-F238E27FC236}">
                    <a16:creationId xmlns:a16="http://schemas.microsoft.com/office/drawing/2014/main" id="{A56A50CE-D116-4E3D-9F9C-6B4A7A9BD1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4">
                <a:extLst>
                  <a:ext uri="{FF2B5EF4-FFF2-40B4-BE49-F238E27FC236}">
                    <a16:creationId xmlns:a16="http://schemas.microsoft.com/office/drawing/2014/main" id="{1E1E3BA3-3D65-4AEE-89A2-7A24EE545D5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5">
                <a:extLst>
                  <a:ext uri="{FF2B5EF4-FFF2-40B4-BE49-F238E27FC236}">
                    <a16:creationId xmlns:a16="http://schemas.microsoft.com/office/drawing/2014/main" id="{CEBC7267-459F-46CB-9686-DC9EC33EA1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6">
                <a:extLst>
                  <a:ext uri="{FF2B5EF4-FFF2-40B4-BE49-F238E27FC236}">
                    <a16:creationId xmlns:a16="http://schemas.microsoft.com/office/drawing/2014/main" id="{FB993FA4-CFC5-4837-A96F-50FD90CAC3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487488" y="1592263"/>
            <a:ext cx="3821114" cy="2960687"/>
          </a:xfrm>
          <a:prstGeom prst="round2SameRect">
            <a:avLst>
              <a:gd name="adj1" fmla="val 10554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1" name="Bildplatzhalter 40">
            <a:extLst>
              <a:ext uri="{FF2B5EF4-FFF2-40B4-BE49-F238E27FC236}">
                <a16:creationId xmlns:a16="http://schemas.microsoft.com/office/drawing/2014/main" id="{1E250036-7D62-4114-A92A-3112FF8860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6883399" y="1592263"/>
            <a:ext cx="3821114" cy="2960687"/>
          </a:xfrm>
          <a:prstGeom prst="round2SameRect">
            <a:avLst>
              <a:gd name="adj1" fmla="val 10554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9AEC450-8DAE-4E70-AD4D-356D0443C963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 algn="r"/>
            <a:fld id="{CAA5C9D4-1E1E-4A71-A9BF-37A18A23D2D4}" type="datetime1">
              <a:rPr lang="de-DE" smtClean="0"/>
              <a:t>2022-01-1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E236985-8E22-4FFB-AFEF-C6A5AC20472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72AF24B-2DDF-4827-A36F-31975804BAE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7" name="Textplatzhalter 5">
            <a:extLst>
              <a:ext uri="{FF2B5EF4-FFF2-40B4-BE49-F238E27FC236}">
                <a16:creationId xmlns:a16="http://schemas.microsoft.com/office/drawing/2014/main" id="{847B9E13-3744-40A3-A85C-84015DF9DFA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487488" y="4853032"/>
            <a:ext cx="3821114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1</a:t>
            </a:r>
          </a:p>
        </p:txBody>
      </p:sp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AE328B77-E9BB-42BD-AEA3-064C0C6E30D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883399" y="4853032"/>
            <a:ext cx="3821114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2</a:t>
            </a:r>
          </a:p>
        </p:txBody>
      </p:sp>
      <p:sp>
        <p:nvSpPr>
          <p:cNvPr id="14" name="Textplatzhalter 28">
            <a:extLst>
              <a:ext uri="{FF2B5EF4-FFF2-40B4-BE49-F238E27FC236}">
                <a16:creationId xmlns:a16="http://schemas.microsoft.com/office/drawing/2014/main" id="{6B8CED60-7D19-4349-BF76-DCB0CAE8F172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1487488" y="5265738"/>
            <a:ext cx="3821114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platzhalter 28">
            <a:extLst>
              <a:ext uri="{FF2B5EF4-FFF2-40B4-BE49-F238E27FC236}">
                <a16:creationId xmlns:a16="http://schemas.microsoft.com/office/drawing/2014/main" id="{B349CDDB-B0BE-4223-93D7-5E44317803C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883399" y="5265738"/>
            <a:ext cx="3821114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4" name="Untertitel 2">
            <a:extLst>
              <a:ext uri="{FF2B5EF4-FFF2-40B4-BE49-F238E27FC236}">
                <a16:creationId xmlns:a16="http://schemas.microsoft.com/office/drawing/2014/main" id="{F56DF26D-3437-4499-97B1-2CC299E31D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110532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lder Inhal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FD7AA177-9107-4D8D-9F97-1CDC2E86A4A7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2B4F717E-0C12-479E-8553-1DE225BA4CE3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7" name="Oval 5">
              <a:extLst>
                <a:ext uri="{FF2B5EF4-FFF2-40B4-BE49-F238E27FC236}">
                  <a16:creationId xmlns:a16="http://schemas.microsoft.com/office/drawing/2014/main" id="{F5645894-B5F9-45B1-A40B-B3AD39B1C7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8" name="Freeform 6">
              <a:extLst>
                <a:ext uri="{FF2B5EF4-FFF2-40B4-BE49-F238E27FC236}">
                  <a16:creationId xmlns:a16="http://schemas.microsoft.com/office/drawing/2014/main" id="{C8E2313B-3F49-4183-945F-97BA2EC06B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9" name="Gruppieren 28">
              <a:extLst>
                <a:ext uri="{FF2B5EF4-FFF2-40B4-BE49-F238E27FC236}">
                  <a16:creationId xmlns:a16="http://schemas.microsoft.com/office/drawing/2014/main" id="{3B6A391F-4FE1-47A0-B9BE-2920F1ED3D1C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30" name="Freeform 7">
                <a:extLst>
                  <a:ext uri="{FF2B5EF4-FFF2-40B4-BE49-F238E27FC236}">
                    <a16:creationId xmlns:a16="http://schemas.microsoft.com/office/drawing/2014/main" id="{26127AE2-ABCB-4715-985A-7CA177F904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8">
                <a:extLst>
                  <a:ext uri="{FF2B5EF4-FFF2-40B4-BE49-F238E27FC236}">
                    <a16:creationId xmlns:a16="http://schemas.microsoft.com/office/drawing/2014/main" id="{47B751FB-ED4E-40F8-B3E1-8245EB4CB92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9">
                <a:extLst>
                  <a:ext uri="{FF2B5EF4-FFF2-40B4-BE49-F238E27FC236}">
                    <a16:creationId xmlns:a16="http://schemas.microsoft.com/office/drawing/2014/main" id="{202E4F70-0E90-4670-9460-1C780E817E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0">
                <a:extLst>
                  <a:ext uri="{FF2B5EF4-FFF2-40B4-BE49-F238E27FC236}">
                    <a16:creationId xmlns:a16="http://schemas.microsoft.com/office/drawing/2014/main" id="{E5FDADB1-A503-4639-9E3B-1381DFE4D7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1">
                <a:extLst>
                  <a:ext uri="{FF2B5EF4-FFF2-40B4-BE49-F238E27FC236}">
                    <a16:creationId xmlns:a16="http://schemas.microsoft.com/office/drawing/2014/main" id="{33443494-539D-49EE-9E6B-5E23AD7F81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12">
                <a:extLst>
                  <a:ext uri="{FF2B5EF4-FFF2-40B4-BE49-F238E27FC236}">
                    <a16:creationId xmlns:a16="http://schemas.microsoft.com/office/drawing/2014/main" id="{30065938-87C5-41B9-BA6F-8CFD0951766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3">
                <a:extLst>
                  <a:ext uri="{FF2B5EF4-FFF2-40B4-BE49-F238E27FC236}">
                    <a16:creationId xmlns:a16="http://schemas.microsoft.com/office/drawing/2014/main" id="{FC291407-C501-454B-A8EE-7CAC0EBF29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4">
                <a:extLst>
                  <a:ext uri="{FF2B5EF4-FFF2-40B4-BE49-F238E27FC236}">
                    <a16:creationId xmlns:a16="http://schemas.microsoft.com/office/drawing/2014/main" id="{95E6D4F2-3255-40E5-A13F-91246F7BCE2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5">
                <a:extLst>
                  <a:ext uri="{FF2B5EF4-FFF2-40B4-BE49-F238E27FC236}">
                    <a16:creationId xmlns:a16="http://schemas.microsoft.com/office/drawing/2014/main" id="{444BCF27-B343-42A9-9DCA-E33BAC3C23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6">
                <a:extLst>
                  <a:ext uri="{FF2B5EF4-FFF2-40B4-BE49-F238E27FC236}">
                    <a16:creationId xmlns:a16="http://schemas.microsoft.com/office/drawing/2014/main" id="{3CC4F76B-36A1-4B25-9B0A-2D354D2305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762000" y="1592263"/>
            <a:ext cx="3025775" cy="2960687"/>
          </a:xfrm>
          <a:custGeom>
            <a:avLst/>
            <a:gdLst>
              <a:gd name="connsiteX0" fmla="*/ 309333 w 3025775"/>
              <a:gd name="connsiteY0" fmla="*/ 0 h 2960687"/>
              <a:gd name="connsiteX1" fmla="*/ 2716442 w 3025775"/>
              <a:gd name="connsiteY1" fmla="*/ 0 h 2960687"/>
              <a:gd name="connsiteX2" fmla="*/ 3025775 w 3025775"/>
              <a:gd name="connsiteY2" fmla="*/ 309333 h 2960687"/>
              <a:gd name="connsiteX3" fmla="*/ 3025775 w 3025775"/>
              <a:gd name="connsiteY3" fmla="*/ 2960687 h 2960687"/>
              <a:gd name="connsiteX4" fmla="*/ 0 w 3025775"/>
              <a:gd name="connsiteY4" fmla="*/ 2960687 h 2960687"/>
              <a:gd name="connsiteX5" fmla="*/ 0 w 3025775"/>
              <a:gd name="connsiteY5" fmla="*/ 309333 h 2960687"/>
              <a:gd name="connsiteX6" fmla="*/ 309333 w 3025775"/>
              <a:gd name="connsiteY6" fmla="*/ 0 h 2960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25775" h="2960687">
                <a:moveTo>
                  <a:pt x="309333" y="0"/>
                </a:moveTo>
                <a:lnTo>
                  <a:pt x="2716442" y="0"/>
                </a:lnTo>
                <a:cubicBezTo>
                  <a:pt x="2887282" y="0"/>
                  <a:pt x="3025775" y="138493"/>
                  <a:pt x="3025775" y="309333"/>
                </a:cubicBezTo>
                <a:lnTo>
                  <a:pt x="3025775" y="2960687"/>
                </a:lnTo>
                <a:lnTo>
                  <a:pt x="0" y="2960687"/>
                </a:lnTo>
                <a:lnTo>
                  <a:pt x="0" y="309333"/>
                </a:lnTo>
                <a:cubicBezTo>
                  <a:pt x="0" y="138493"/>
                  <a:pt x="138493" y="0"/>
                  <a:pt x="309333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F93A7B41-6D62-4864-8FFA-1765074A406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4583112" y="1592263"/>
            <a:ext cx="3025775" cy="2960687"/>
          </a:xfrm>
          <a:custGeom>
            <a:avLst/>
            <a:gdLst>
              <a:gd name="connsiteX0" fmla="*/ 309333 w 3025775"/>
              <a:gd name="connsiteY0" fmla="*/ 0 h 2960687"/>
              <a:gd name="connsiteX1" fmla="*/ 2716442 w 3025775"/>
              <a:gd name="connsiteY1" fmla="*/ 0 h 2960687"/>
              <a:gd name="connsiteX2" fmla="*/ 3025775 w 3025775"/>
              <a:gd name="connsiteY2" fmla="*/ 309333 h 2960687"/>
              <a:gd name="connsiteX3" fmla="*/ 3025775 w 3025775"/>
              <a:gd name="connsiteY3" fmla="*/ 2960687 h 2960687"/>
              <a:gd name="connsiteX4" fmla="*/ 0 w 3025775"/>
              <a:gd name="connsiteY4" fmla="*/ 2960687 h 2960687"/>
              <a:gd name="connsiteX5" fmla="*/ 0 w 3025775"/>
              <a:gd name="connsiteY5" fmla="*/ 309333 h 2960687"/>
              <a:gd name="connsiteX6" fmla="*/ 309333 w 3025775"/>
              <a:gd name="connsiteY6" fmla="*/ 0 h 2960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25775" h="2960687">
                <a:moveTo>
                  <a:pt x="309333" y="0"/>
                </a:moveTo>
                <a:lnTo>
                  <a:pt x="2716442" y="0"/>
                </a:lnTo>
                <a:cubicBezTo>
                  <a:pt x="2887282" y="0"/>
                  <a:pt x="3025775" y="138493"/>
                  <a:pt x="3025775" y="309333"/>
                </a:cubicBezTo>
                <a:lnTo>
                  <a:pt x="3025775" y="2960687"/>
                </a:lnTo>
                <a:lnTo>
                  <a:pt x="0" y="2960687"/>
                </a:lnTo>
                <a:lnTo>
                  <a:pt x="0" y="309333"/>
                </a:lnTo>
                <a:cubicBezTo>
                  <a:pt x="0" y="138493"/>
                  <a:pt x="138493" y="0"/>
                  <a:pt x="309333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2" name="Bildplatzhalter 21">
            <a:extLst>
              <a:ext uri="{FF2B5EF4-FFF2-40B4-BE49-F238E27FC236}">
                <a16:creationId xmlns:a16="http://schemas.microsoft.com/office/drawing/2014/main" id="{F8EA52FF-4D6F-4786-948F-F5BBA46C445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8401050" y="1592263"/>
            <a:ext cx="3025775" cy="2960687"/>
          </a:xfrm>
          <a:custGeom>
            <a:avLst/>
            <a:gdLst>
              <a:gd name="connsiteX0" fmla="*/ 309333 w 3025775"/>
              <a:gd name="connsiteY0" fmla="*/ 0 h 2960687"/>
              <a:gd name="connsiteX1" fmla="*/ 2716442 w 3025775"/>
              <a:gd name="connsiteY1" fmla="*/ 0 h 2960687"/>
              <a:gd name="connsiteX2" fmla="*/ 3025775 w 3025775"/>
              <a:gd name="connsiteY2" fmla="*/ 309333 h 2960687"/>
              <a:gd name="connsiteX3" fmla="*/ 3025775 w 3025775"/>
              <a:gd name="connsiteY3" fmla="*/ 2960687 h 2960687"/>
              <a:gd name="connsiteX4" fmla="*/ 0 w 3025775"/>
              <a:gd name="connsiteY4" fmla="*/ 2960687 h 2960687"/>
              <a:gd name="connsiteX5" fmla="*/ 0 w 3025775"/>
              <a:gd name="connsiteY5" fmla="*/ 309333 h 2960687"/>
              <a:gd name="connsiteX6" fmla="*/ 309333 w 3025775"/>
              <a:gd name="connsiteY6" fmla="*/ 0 h 2960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25775" h="2960687">
                <a:moveTo>
                  <a:pt x="309333" y="0"/>
                </a:moveTo>
                <a:lnTo>
                  <a:pt x="2716442" y="0"/>
                </a:lnTo>
                <a:cubicBezTo>
                  <a:pt x="2887282" y="0"/>
                  <a:pt x="3025775" y="138493"/>
                  <a:pt x="3025775" y="309333"/>
                </a:cubicBezTo>
                <a:lnTo>
                  <a:pt x="3025775" y="2960687"/>
                </a:lnTo>
                <a:lnTo>
                  <a:pt x="0" y="2960687"/>
                </a:lnTo>
                <a:lnTo>
                  <a:pt x="0" y="309333"/>
                </a:lnTo>
                <a:cubicBezTo>
                  <a:pt x="0" y="138493"/>
                  <a:pt x="138493" y="0"/>
                  <a:pt x="309333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25FF0B9-EDF2-4882-8704-4545C832A928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 algn="r"/>
            <a:fld id="{3E6B5921-8BFC-4EBC-8372-6BA6AF4FB134}" type="datetime1">
              <a:rPr lang="de-DE" smtClean="0"/>
              <a:t>2022-01-1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C8D8104-D8B2-4D95-A5F6-12F39DCDEF9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29D6E93-7F18-4FF1-9F28-312A4EDB5789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BFF5B44-121A-4367-B6E2-03918ADA9A5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62000" y="4853032"/>
            <a:ext cx="302577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16" name="Textplatzhalter 8">
            <a:extLst>
              <a:ext uri="{FF2B5EF4-FFF2-40B4-BE49-F238E27FC236}">
                <a16:creationId xmlns:a16="http://schemas.microsoft.com/office/drawing/2014/main" id="{00AAE0B7-896C-497B-B63C-A6AFD3696A2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583112" y="4853032"/>
            <a:ext cx="302577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17" name="Textplatzhalter 8">
            <a:extLst>
              <a:ext uri="{FF2B5EF4-FFF2-40B4-BE49-F238E27FC236}">
                <a16:creationId xmlns:a16="http://schemas.microsoft.com/office/drawing/2014/main" id="{FFA68F9C-9D74-44BD-A0C6-ABA5E620C98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01050" y="4853032"/>
            <a:ext cx="302577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18" name="Textplatzhalter 28">
            <a:extLst>
              <a:ext uri="{FF2B5EF4-FFF2-40B4-BE49-F238E27FC236}">
                <a16:creationId xmlns:a16="http://schemas.microsoft.com/office/drawing/2014/main" id="{3D06BD6F-9548-4E4A-9622-73B7940AF3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62000" y="5265738"/>
            <a:ext cx="302577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Textplatzhalter 28">
            <a:extLst>
              <a:ext uri="{FF2B5EF4-FFF2-40B4-BE49-F238E27FC236}">
                <a16:creationId xmlns:a16="http://schemas.microsoft.com/office/drawing/2014/main" id="{92F70558-BDEB-4EDA-96DC-F9F377A901CF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583112" y="5265738"/>
            <a:ext cx="302577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Textplatzhalter 28">
            <a:extLst>
              <a:ext uri="{FF2B5EF4-FFF2-40B4-BE49-F238E27FC236}">
                <a16:creationId xmlns:a16="http://schemas.microsoft.com/office/drawing/2014/main" id="{A4EEBFB5-31AF-44B0-B449-C6569322919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401050" y="5265738"/>
            <a:ext cx="302577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0" name="Untertitel 2">
            <a:extLst>
              <a:ext uri="{FF2B5EF4-FFF2-40B4-BE49-F238E27FC236}">
                <a16:creationId xmlns:a16="http://schemas.microsoft.com/office/drawing/2014/main" id="{5D423A01-7715-4A1C-80A5-6BF82C7D12C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373316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Bilder Inhal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7E8CB8E4-FB84-4648-8735-CB7CC4E6C6DE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56" name="Bildplatzhalter 55">
            <a:extLst>
              <a:ext uri="{FF2B5EF4-FFF2-40B4-BE49-F238E27FC236}">
                <a16:creationId xmlns:a16="http://schemas.microsoft.com/office/drawing/2014/main" id="{932A7BA9-B4F2-49DF-B582-09CAD348014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762001" y="1592264"/>
            <a:ext cx="2228034" cy="2960686"/>
          </a:xfrm>
          <a:custGeom>
            <a:avLst/>
            <a:gdLst>
              <a:gd name="connsiteX0" fmla="*/ 316581 w 2228034"/>
              <a:gd name="connsiteY0" fmla="*/ 0 h 2960686"/>
              <a:gd name="connsiteX1" fmla="*/ 1911454 w 2228034"/>
              <a:gd name="connsiteY1" fmla="*/ 0 h 2960686"/>
              <a:gd name="connsiteX2" fmla="*/ 2221603 w 2228034"/>
              <a:gd name="connsiteY2" fmla="*/ 252779 h 2960686"/>
              <a:gd name="connsiteX3" fmla="*/ 2228034 w 2228034"/>
              <a:gd name="connsiteY3" fmla="*/ 316571 h 2960686"/>
              <a:gd name="connsiteX4" fmla="*/ 2228034 w 2228034"/>
              <a:gd name="connsiteY4" fmla="*/ 2960686 h 2960686"/>
              <a:gd name="connsiteX5" fmla="*/ 0 w 2228034"/>
              <a:gd name="connsiteY5" fmla="*/ 2960686 h 2960686"/>
              <a:gd name="connsiteX6" fmla="*/ 0 w 2228034"/>
              <a:gd name="connsiteY6" fmla="*/ 2644106 h 2960686"/>
              <a:gd name="connsiteX7" fmla="*/ 0 w 2228034"/>
              <a:gd name="connsiteY7" fmla="*/ 1760537 h 2960686"/>
              <a:gd name="connsiteX8" fmla="*/ 0 w 2228034"/>
              <a:gd name="connsiteY8" fmla="*/ 316581 h 2960686"/>
              <a:gd name="connsiteX9" fmla="*/ 316581 w 2228034"/>
              <a:gd name="connsiteY9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28034" h="2960686">
                <a:moveTo>
                  <a:pt x="316581" y="0"/>
                </a:moveTo>
                <a:lnTo>
                  <a:pt x="1911454" y="0"/>
                </a:lnTo>
                <a:cubicBezTo>
                  <a:pt x="2064442" y="0"/>
                  <a:pt x="2192083" y="108518"/>
                  <a:pt x="2221603" y="252779"/>
                </a:cubicBezTo>
                <a:lnTo>
                  <a:pt x="2228034" y="316571"/>
                </a:lnTo>
                <a:lnTo>
                  <a:pt x="2228034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FABE9D84-609D-4A0B-9FE3-6E2E3C22590F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7" name="Oval 5">
              <a:extLst>
                <a:ext uri="{FF2B5EF4-FFF2-40B4-BE49-F238E27FC236}">
                  <a16:creationId xmlns:a16="http://schemas.microsoft.com/office/drawing/2014/main" id="{8AB12F9D-2FCF-463F-8048-C6B1518CAC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8" name="Freeform 6">
              <a:extLst>
                <a:ext uri="{FF2B5EF4-FFF2-40B4-BE49-F238E27FC236}">
                  <a16:creationId xmlns:a16="http://schemas.microsoft.com/office/drawing/2014/main" id="{FB2B76A1-114C-433B-8012-C92676EEF8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F0EA9399-9BE8-41AF-8045-D0420265E7A7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37" name="Freeform 7">
                <a:extLst>
                  <a:ext uri="{FF2B5EF4-FFF2-40B4-BE49-F238E27FC236}">
                    <a16:creationId xmlns:a16="http://schemas.microsoft.com/office/drawing/2014/main" id="{C0705B63-CDD9-4B98-BBB9-129890734C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8">
                <a:extLst>
                  <a:ext uri="{FF2B5EF4-FFF2-40B4-BE49-F238E27FC236}">
                    <a16:creationId xmlns:a16="http://schemas.microsoft.com/office/drawing/2014/main" id="{37873C95-B4B9-4D3F-8F2B-1F7E9CDD8D9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9">
                <a:extLst>
                  <a:ext uri="{FF2B5EF4-FFF2-40B4-BE49-F238E27FC236}">
                    <a16:creationId xmlns:a16="http://schemas.microsoft.com/office/drawing/2014/main" id="{DEDCFF11-F37C-4A97-9525-49EC385828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0">
                <a:extLst>
                  <a:ext uri="{FF2B5EF4-FFF2-40B4-BE49-F238E27FC236}">
                    <a16:creationId xmlns:a16="http://schemas.microsoft.com/office/drawing/2014/main" id="{FA6D5E4F-AB2E-44B6-B403-C2E671EBA2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1">
                <a:extLst>
                  <a:ext uri="{FF2B5EF4-FFF2-40B4-BE49-F238E27FC236}">
                    <a16:creationId xmlns:a16="http://schemas.microsoft.com/office/drawing/2014/main" id="{9A77CCC4-C472-4018-B101-78E437AADF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2">
                <a:extLst>
                  <a:ext uri="{FF2B5EF4-FFF2-40B4-BE49-F238E27FC236}">
                    <a16:creationId xmlns:a16="http://schemas.microsoft.com/office/drawing/2014/main" id="{101B07C3-A05E-4452-95C3-A224310903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3" name="Freeform 13">
                <a:extLst>
                  <a:ext uri="{FF2B5EF4-FFF2-40B4-BE49-F238E27FC236}">
                    <a16:creationId xmlns:a16="http://schemas.microsoft.com/office/drawing/2014/main" id="{BD34AE42-2F7D-497A-BC97-5CBC48123F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4" name="Freeform 14">
                <a:extLst>
                  <a:ext uri="{FF2B5EF4-FFF2-40B4-BE49-F238E27FC236}">
                    <a16:creationId xmlns:a16="http://schemas.microsoft.com/office/drawing/2014/main" id="{DAA2AC69-85F7-4098-89C0-B43D8A77CA7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5" name="Freeform 15">
                <a:extLst>
                  <a:ext uri="{FF2B5EF4-FFF2-40B4-BE49-F238E27FC236}">
                    <a16:creationId xmlns:a16="http://schemas.microsoft.com/office/drawing/2014/main" id="{F3A06AD5-31F8-4D18-8639-A476D2C033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6" name="Freeform 16">
                <a:extLst>
                  <a:ext uri="{FF2B5EF4-FFF2-40B4-BE49-F238E27FC236}">
                    <a16:creationId xmlns:a16="http://schemas.microsoft.com/office/drawing/2014/main" id="{6AF5945C-C038-4B9C-9AC1-783433F96C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63" name="Bildplatzhalter 62">
            <a:extLst>
              <a:ext uri="{FF2B5EF4-FFF2-40B4-BE49-F238E27FC236}">
                <a16:creationId xmlns:a16="http://schemas.microsoft.com/office/drawing/2014/main" id="{581CE1A1-72E0-42D8-8BD1-73E34C8DA5EA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9197202" y="1592264"/>
            <a:ext cx="2228035" cy="2960686"/>
          </a:xfrm>
          <a:custGeom>
            <a:avLst/>
            <a:gdLst>
              <a:gd name="connsiteX0" fmla="*/ 316581 w 2228035"/>
              <a:gd name="connsiteY0" fmla="*/ 0 h 2960686"/>
              <a:gd name="connsiteX1" fmla="*/ 1911454 w 2228035"/>
              <a:gd name="connsiteY1" fmla="*/ 0 h 2960686"/>
              <a:gd name="connsiteX2" fmla="*/ 2228035 w 2228035"/>
              <a:gd name="connsiteY2" fmla="*/ 316581 h 2960686"/>
              <a:gd name="connsiteX3" fmla="*/ 2228035 w 2228035"/>
              <a:gd name="connsiteY3" fmla="*/ 1760537 h 2960686"/>
              <a:gd name="connsiteX4" fmla="*/ 2228035 w 2228035"/>
              <a:gd name="connsiteY4" fmla="*/ 2644106 h 2960686"/>
              <a:gd name="connsiteX5" fmla="*/ 2228035 w 2228035"/>
              <a:gd name="connsiteY5" fmla="*/ 2960686 h 2960686"/>
              <a:gd name="connsiteX6" fmla="*/ 0 w 2228035"/>
              <a:gd name="connsiteY6" fmla="*/ 2960686 h 2960686"/>
              <a:gd name="connsiteX7" fmla="*/ 0 w 2228035"/>
              <a:gd name="connsiteY7" fmla="*/ 2644106 h 2960686"/>
              <a:gd name="connsiteX8" fmla="*/ 0 w 2228035"/>
              <a:gd name="connsiteY8" fmla="*/ 1760537 h 2960686"/>
              <a:gd name="connsiteX9" fmla="*/ 0 w 2228035"/>
              <a:gd name="connsiteY9" fmla="*/ 316581 h 2960686"/>
              <a:gd name="connsiteX10" fmla="*/ 316581 w 2228035"/>
              <a:gd name="connsiteY10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28035" h="2960686">
                <a:moveTo>
                  <a:pt x="316581" y="0"/>
                </a:moveTo>
                <a:lnTo>
                  <a:pt x="1911454" y="0"/>
                </a:lnTo>
                <a:cubicBezTo>
                  <a:pt x="2086297" y="0"/>
                  <a:pt x="2228035" y="141738"/>
                  <a:pt x="2228035" y="316581"/>
                </a:cubicBezTo>
                <a:lnTo>
                  <a:pt x="2228035" y="1760537"/>
                </a:lnTo>
                <a:lnTo>
                  <a:pt x="2228035" y="2644106"/>
                </a:lnTo>
                <a:lnTo>
                  <a:pt x="2228035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61" name="Bildplatzhalter 60">
            <a:extLst>
              <a:ext uri="{FF2B5EF4-FFF2-40B4-BE49-F238E27FC236}">
                <a16:creationId xmlns:a16="http://schemas.microsoft.com/office/drawing/2014/main" id="{D41B6DFA-DE64-41E3-BFBB-200F332BBB38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3575682" y="1592264"/>
            <a:ext cx="2228035" cy="2960686"/>
          </a:xfrm>
          <a:custGeom>
            <a:avLst/>
            <a:gdLst>
              <a:gd name="connsiteX0" fmla="*/ 316581 w 2228035"/>
              <a:gd name="connsiteY0" fmla="*/ 0 h 2960686"/>
              <a:gd name="connsiteX1" fmla="*/ 1911454 w 2228035"/>
              <a:gd name="connsiteY1" fmla="*/ 0 h 2960686"/>
              <a:gd name="connsiteX2" fmla="*/ 2228035 w 2228035"/>
              <a:gd name="connsiteY2" fmla="*/ 316581 h 2960686"/>
              <a:gd name="connsiteX3" fmla="*/ 2228035 w 2228035"/>
              <a:gd name="connsiteY3" fmla="*/ 1760537 h 2960686"/>
              <a:gd name="connsiteX4" fmla="*/ 2228035 w 2228035"/>
              <a:gd name="connsiteY4" fmla="*/ 2644106 h 2960686"/>
              <a:gd name="connsiteX5" fmla="*/ 2228035 w 2228035"/>
              <a:gd name="connsiteY5" fmla="*/ 2960686 h 2960686"/>
              <a:gd name="connsiteX6" fmla="*/ 0 w 2228035"/>
              <a:gd name="connsiteY6" fmla="*/ 2960686 h 2960686"/>
              <a:gd name="connsiteX7" fmla="*/ 0 w 2228035"/>
              <a:gd name="connsiteY7" fmla="*/ 2644106 h 2960686"/>
              <a:gd name="connsiteX8" fmla="*/ 0 w 2228035"/>
              <a:gd name="connsiteY8" fmla="*/ 1760537 h 2960686"/>
              <a:gd name="connsiteX9" fmla="*/ 0 w 2228035"/>
              <a:gd name="connsiteY9" fmla="*/ 316581 h 2960686"/>
              <a:gd name="connsiteX10" fmla="*/ 316581 w 2228035"/>
              <a:gd name="connsiteY10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28035" h="2960686">
                <a:moveTo>
                  <a:pt x="316581" y="0"/>
                </a:moveTo>
                <a:lnTo>
                  <a:pt x="1911454" y="0"/>
                </a:lnTo>
                <a:cubicBezTo>
                  <a:pt x="2086297" y="0"/>
                  <a:pt x="2228035" y="141738"/>
                  <a:pt x="2228035" y="316581"/>
                </a:cubicBezTo>
                <a:lnTo>
                  <a:pt x="2228035" y="1760537"/>
                </a:lnTo>
                <a:lnTo>
                  <a:pt x="2228035" y="2644106"/>
                </a:lnTo>
                <a:lnTo>
                  <a:pt x="2228035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62" name="Bildplatzhalter 61">
            <a:extLst>
              <a:ext uri="{FF2B5EF4-FFF2-40B4-BE49-F238E27FC236}">
                <a16:creationId xmlns:a16="http://schemas.microsoft.com/office/drawing/2014/main" id="{744C5B8B-0608-471E-A233-3632C450CF51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6387027" y="1592264"/>
            <a:ext cx="2228035" cy="2960686"/>
          </a:xfrm>
          <a:custGeom>
            <a:avLst/>
            <a:gdLst>
              <a:gd name="connsiteX0" fmla="*/ 316581 w 2228035"/>
              <a:gd name="connsiteY0" fmla="*/ 0 h 2960686"/>
              <a:gd name="connsiteX1" fmla="*/ 1911454 w 2228035"/>
              <a:gd name="connsiteY1" fmla="*/ 0 h 2960686"/>
              <a:gd name="connsiteX2" fmla="*/ 2228035 w 2228035"/>
              <a:gd name="connsiteY2" fmla="*/ 316581 h 2960686"/>
              <a:gd name="connsiteX3" fmla="*/ 2228035 w 2228035"/>
              <a:gd name="connsiteY3" fmla="*/ 1760537 h 2960686"/>
              <a:gd name="connsiteX4" fmla="*/ 2228035 w 2228035"/>
              <a:gd name="connsiteY4" fmla="*/ 2644106 h 2960686"/>
              <a:gd name="connsiteX5" fmla="*/ 2228035 w 2228035"/>
              <a:gd name="connsiteY5" fmla="*/ 2960686 h 2960686"/>
              <a:gd name="connsiteX6" fmla="*/ 0 w 2228035"/>
              <a:gd name="connsiteY6" fmla="*/ 2960686 h 2960686"/>
              <a:gd name="connsiteX7" fmla="*/ 0 w 2228035"/>
              <a:gd name="connsiteY7" fmla="*/ 2644106 h 2960686"/>
              <a:gd name="connsiteX8" fmla="*/ 0 w 2228035"/>
              <a:gd name="connsiteY8" fmla="*/ 1760537 h 2960686"/>
              <a:gd name="connsiteX9" fmla="*/ 0 w 2228035"/>
              <a:gd name="connsiteY9" fmla="*/ 316581 h 2960686"/>
              <a:gd name="connsiteX10" fmla="*/ 316581 w 2228035"/>
              <a:gd name="connsiteY10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28035" h="2960686">
                <a:moveTo>
                  <a:pt x="316581" y="0"/>
                </a:moveTo>
                <a:lnTo>
                  <a:pt x="1911454" y="0"/>
                </a:lnTo>
                <a:cubicBezTo>
                  <a:pt x="2086297" y="0"/>
                  <a:pt x="2228035" y="141738"/>
                  <a:pt x="2228035" y="316581"/>
                </a:cubicBezTo>
                <a:lnTo>
                  <a:pt x="2228035" y="1760537"/>
                </a:lnTo>
                <a:lnTo>
                  <a:pt x="2228035" y="2644106"/>
                </a:lnTo>
                <a:lnTo>
                  <a:pt x="2228035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0543800-777F-4A36-8003-A058D04E62D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 algn="r"/>
            <a:fld id="{4387E301-5854-4C05-88BB-E24419F53C91}" type="datetime1">
              <a:rPr lang="de-DE" smtClean="0"/>
              <a:t>2022-01-1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170F859-33A7-427E-A5C9-27FEA21869B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59A9547-691C-4948-A8E5-C71CA5968B44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DC65F5F3-5F25-49DD-9082-C7A05680F31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62000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29" name="Textplatzhalter 8">
            <a:extLst>
              <a:ext uri="{FF2B5EF4-FFF2-40B4-BE49-F238E27FC236}">
                <a16:creationId xmlns:a16="http://schemas.microsoft.com/office/drawing/2014/main" id="{C7D15551-1290-405F-BD25-6ABF0894721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575682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30" name="Textplatzhalter 8">
            <a:extLst>
              <a:ext uri="{FF2B5EF4-FFF2-40B4-BE49-F238E27FC236}">
                <a16:creationId xmlns:a16="http://schemas.microsoft.com/office/drawing/2014/main" id="{22F89AD0-02C5-4175-B3F4-8788C3137D8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87027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31" name="Textplatzhalter 8">
            <a:extLst>
              <a:ext uri="{FF2B5EF4-FFF2-40B4-BE49-F238E27FC236}">
                <a16:creationId xmlns:a16="http://schemas.microsoft.com/office/drawing/2014/main" id="{FE572951-2F2B-4587-8B08-FA97A950415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197202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4</a:t>
            </a:r>
          </a:p>
        </p:txBody>
      </p:sp>
      <p:sp>
        <p:nvSpPr>
          <p:cNvPr id="33" name="Textplatzhalter 28">
            <a:extLst>
              <a:ext uri="{FF2B5EF4-FFF2-40B4-BE49-F238E27FC236}">
                <a16:creationId xmlns:a16="http://schemas.microsoft.com/office/drawing/2014/main" id="{4ED0B10A-D3D0-4421-86F8-F66783F8525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62000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4" name="Textplatzhalter 28">
            <a:extLst>
              <a:ext uri="{FF2B5EF4-FFF2-40B4-BE49-F238E27FC236}">
                <a16:creationId xmlns:a16="http://schemas.microsoft.com/office/drawing/2014/main" id="{6320E11F-E7F2-4E8F-9EDD-97A74F2BDB6E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575682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5" name="Textplatzhalter 28">
            <a:extLst>
              <a:ext uri="{FF2B5EF4-FFF2-40B4-BE49-F238E27FC236}">
                <a16:creationId xmlns:a16="http://schemas.microsoft.com/office/drawing/2014/main" id="{3DBEFF14-C172-4623-AD1D-F41CEF998726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87027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6" name="Textplatzhalter 28">
            <a:extLst>
              <a:ext uri="{FF2B5EF4-FFF2-40B4-BE49-F238E27FC236}">
                <a16:creationId xmlns:a16="http://schemas.microsoft.com/office/drawing/2014/main" id="{6FA93FC9-E925-4BFF-A3E4-F222D9C8A983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197202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7" name="Untertitel 2">
            <a:extLst>
              <a:ext uri="{FF2B5EF4-FFF2-40B4-BE49-F238E27FC236}">
                <a16:creationId xmlns:a16="http://schemas.microsoft.com/office/drawing/2014/main" id="{F4EB41D9-291D-4B55-B324-F2C567EE9B3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379515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 Bilder Inhalt Farbfläch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ihandform: Form 22">
            <a:extLst>
              <a:ext uri="{FF2B5EF4-FFF2-40B4-BE49-F238E27FC236}">
                <a16:creationId xmlns:a16="http://schemas.microsoft.com/office/drawing/2014/main" id="{42C1C417-C6A8-42BE-9910-2D37DC5D2A62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262360 w 12192000"/>
              <a:gd name="connsiteY3" fmla="*/ 6858000 h 6858000"/>
              <a:gd name="connsiteX4" fmla="*/ 11262360 w 12192000"/>
              <a:gd name="connsiteY4" fmla="*/ 3802297 h 6858000"/>
              <a:gd name="connsiteX5" fmla="*/ 10276288 w 12192000"/>
              <a:gd name="connsiteY5" fmla="*/ 2816225 h 6858000"/>
              <a:gd name="connsiteX6" fmla="*/ 0 w 12192000"/>
              <a:gd name="connsiteY6" fmla="*/ 281622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262360" y="6858000"/>
                </a:lnTo>
                <a:lnTo>
                  <a:pt x="11262360" y="3802297"/>
                </a:lnTo>
                <a:cubicBezTo>
                  <a:pt x="11262360" y="3257704"/>
                  <a:pt x="10820881" y="2816225"/>
                  <a:pt x="10276288" y="2816225"/>
                </a:cubicBezTo>
                <a:lnTo>
                  <a:pt x="0" y="2816225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78833B7C-624A-4366-B73C-BA06FB92685A}"/>
              </a:ext>
            </a:extLst>
          </p:cNvPr>
          <p:cNvSpPr/>
          <p:nvPr/>
        </p:nvSpPr>
        <p:spPr>
          <a:xfrm>
            <a:off x="-10930" y="2601380"/>
            <a:ext cx="11503732" cy="4267200"/>
          </a:xfrm>
          <a:custGeom>
            <a:avLst/>
            <a:gdLst>
              <a:gd name="connsiteX0" fmla="*/ 0 w 11503732"/>
              <a:gd name="connsiteY0" fmla="*/ 0 h 4267200"/>
              <a:gd name="connsiteX1" fmla="*/ 10297224 w 11503732"/>
              <a:gd name="connsiteY1" fmla="*/ 0 h 4267200"/>
              <a:gd name="connsiteX2" fmla="*/ 11503732 w 11503732"/>
              <a:gd name="connsiteY2" fmla="*/ 1206508 h 4267200"/>
              <a:gd name="connsiteX3" fmla="*/ 11503732 w 11503732"/>
              <a:gd name="connsiteY3" fmla="*/ 4267200 h 4267200"/>
              <a:gd name="connsiteX4" fmla="*/ 0 w 11503732"/>
              <a:gd name="connsiteY4" fmla="*/ 426720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03732" h="4267200">
                <a:moveTo>
                  <a:pt x="0" y="0"/>
                </a:moveTo>
                <a:lnTo>
                  <a:pt x="10297224" y="0"/>
                </a:lnTo>
                <a:cubicBezTo>
                  <a:pt x="10963560" y="0"/>
                  <a:pt x="11503732" y="540172"/>
                  <a:pt x="11503732" y="1206508"/>
                </a:cubicBezTo>
                <a:lnTo>
                  <a:pt x="11503732" y="4267200"/>
                </a:lnTo>
                <a:lnTo>
                  <a:pt x="0" y="4267200"/>
                </a:ln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487488" y="1915370"/>
            <a:ext cx="2300287" cy="2126405"/>
          </a:xfrm>
          <a:prstGeom prst="round2SameRect">
            <a:avLst>
              <a:gd name="adj1" fmla="val 14427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4E6E7D95-E752-4938-A697-BF0079FA9A28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6" cy="635012"/>
          </a:xfrm>
        </p:grpSpPr>
        <p:sp>
          <p:nvSpPr>
            <p:cNvPr id="30" name="Oval 5">
              <a:extLst>
                <a:ext uri="{FF2B5EF4-FFF2-40B4-BE49-F238E27FC236}">
                  <a16:creationId xmlns:a16="http://schemas.microsoft.com/office/drawing/2014/main" id="{1D77E2A1-AC77-44E7-839B-CADFB8AA1A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607E5BD9-B18D-42DC-A03B-FFC59313D6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79A6C844-5DD2-409E-98B9-E19508E5FA87}"/>
                </a:ext>
              </a:extLst>
            </p:cNvPr>
            <p:cNvGrpSpPr/>
            <p:nvPr/>
          </p:nvGrpSpPr>
          <p:grpSpPr>
            <a:xfrm>
              <a:off x="1311217" y="1530579"/>
              <a:ext cx="1533582" cy="307590"/>
              <a:chOff x="3987943" y="2307132"/>
              <a:chExt cx="2607166" cy="522910"/>
            </a:xfrm>
          </p:grpSpPr>
          <p:sp>
            <p:nvSpPr>
              <p:cNvPr id="33" name="Freeform 7">
                <a:extLst>
                  <a:ext uri="{FF2B5EF4-FFF2-40B4-BE49-F238E27FC236}">
                    <a16:creationId xmlns:a16="http://schemas.microsoft.com/office/drawing/2014/main" id="{643D1AFD-B7D6-4A09-BFEB-A6E265C0EA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8">
                <a:extLst>
                  <a:ext uri="{FF2B5EF4-FFF2-40B4-BE49-F238E27FC236}">
                    <a16:creationId xmlns:a16="http://schemas.microsoft.com/office/drawing/2014/main" id="{40E33BC4-1E2D-4478-BF91-015ADA50B16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9">
                <a:extLst>
                  <a:ext uri="{FF2B5EF4-FFF2-40B4-BE49-F238E27FC236}">
                    <a16:creationId xmlns:a16="http://schemas.microsoft.com/office/drawing/2014/main" id="{B1369C83-92F5-4D60-B81D-1BA647CC02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0">
                <a:extLst>
                  <a:ext uri="{FF2B5EF4-FFF2-40B4-BE49-F238E27FC236}">
                    <a16:creationId xmlns:a16="http://schemas.microsoft.com/office/drawing/2014/main" id="{26C5AFE6-9457-47F3-A719-0D2F180FCD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1">
                <a:extLst>
                  <a:ext uri="{FF2B5EF4-FFF2-40B4-BE49-F238E27FC236}">
                    <a16:creationId xmlns:a16="http://schemas.microsoft.com/office/drawing/2014/main" id="{6EE3B5FE-7E51-4F77-8F4D-99C718E2FA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2">
                <a:extLst>
                  <a:ext uri="{FF2B5EF4-FFF2-40B4-BE49-F238E27FC236}">
                    <a16:creationId xmlns:a16="http://schemas.microsoft.com/office/drawing/2014/main" id="{4C62839E-3074-4973-814C-1B5157D823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3">
                <a:extLst>
                  <a:ext uri="{FF2B5EF4-FFF2-40B4-BE49-F238E27FC236}">
                    <a16:creationId xmlns:a16="http://schemas.microsoft.com/office/drawing/2014/main" id="{CBC551B8-B813-4181-B5A2-4FCDD7F799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4">
                <a:extLst>
                  <a:ext uri="{FF2B5EF4-FFF2-40B4-BE49-F238E27FC236}">
                    <a16:creationId xmlns:a16="http://schemas.microsoft.com/office/drawing/2014/main" id="{B4BC6E0C-B64B-45FC-BE32-87D981D4A3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5">
                <a:extLst>
                  <a:ext uri="{FF2B5EF4-FFF2-40B4-BE49-F238E27FC236}">
                    <a16:creationId xmlns:a16="http://schemas.microsoft.com/office/drawing/2014/main" id="{A8A873D6-99AD-4B9F-925C-0040680E39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6">
                <a:extLst>
                  <a:ext uri="{FF2B5EF4-FFF2-40B4-BE49-F238E27FC236}">
                    <a16:creationId xmlns:a16="http://schemas.microsoft.com/office/drawing/2014/main" id="{E6FE9E62-9925-40BD-83DB-748F8A9258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44" name="Bildplatzhalter 43">
            <a:extLst>
              <a:ext uri="{FF2B5EF4-FFF2-40B4-BE49-F238E27FC236}">
                <a16:creationId xmlns:a16="http://schemas.microsoft.com/office/drawing/2014/main" id="{2CF2BA29-B1F5-4E1C-915D-7F4FC6184988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4943475" y="1915370"/>
            <a:ext cx="2300287" cy="2126405"/>
          </a:xfrm>
          <a:prstGeom prst="round2SameRect">
            <a:avLst>
              <a:gd name="adj1" fmla="val 14427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5" name="Bildplatzhalter 44">
            <a:extLst>
              <a:ext uri="{FF2B5EF4-FFF2-40B4-BE49-F238E27FC236}">
                <a16:creationId xmlns:a16="http://schemas.microsoft.com/office/drawing/2014/main" id="{B7C45DC4-51D5-44A9-817E-78B83E5B082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8399462" y="1915370"/>
            <a:ext cx="2300287" cy="2126405"/>
          </a:xfrm>
          <a:prstGeom prst="round2SameRect">
            <a:avLst>
              <a:gd name="adj1" fmla="val 14427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95AA77A-1C06-4D07-8794-FCA3B043B958}"/>
              </a:ext>
            </a:extLst>
          </p:cNvPr>
          <p:cNvSpPr>
            <a:spLocks noGrp="1"/>
          </p:cNvSpPr>
          <p:nvPr>
            <p:ph type="dt" sz="half" idx="22"/>
          </p:nvPr>
        </p:nvSpPr>
        <p:spPr>
          <a:xfrm>
            <a:off x="11160919" y="6991314"/>
            <a:ext cx="457993" cy="101671"/>
          </a:xfrm>
        </p:spPr>
        <p:txBody>
          <a:bodyPr/>
          <a:lstStyle/>
          <a:p>
            <a:pPr algn="r"/>
            <a:fld id="{19073841-B3B2-487C-8F0A-B6E5A0A1BE64}" type="datetime1">
              <a:rPr lang="de-DE" smtClean="0"/>
              <a:t>2022-01-1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DD25278-5920-4203-8EF2-E38D0AAB249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8401051" y="6991314"/>
            <a:ext cx="2522534" cy="101671"/>
          </a:xfrm>
        </p:spPr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92D9BE3-5B6C-4092-94F4-64CE9C9872B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11725538" y="6991314"/>
            <a:ext cx="191824" cy="101671"/>
          </a:xfrm>
        </p:spPr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069AFB9C-5517-4407-B7FD-EF75A6A7FA3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487488" y="4300582"/>
            <a:ext cx="2300287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51" name="Textplatzhalter 16">
            <a:extLst>
              <a:ext uri="{FF2B5EF4-FFF2-40B4-BE49-F238E27FC236}">
                <a16:creationId xmlns:a16="http://schemas.microsoft.com/office/drawing/2014/main" id="{30296C02-F395-4295-A8EC-3AEE6D2CBCC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487488" y="4713288"/>
            <a:ext cx="2300287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2" name="Textplatzhalter 16">
            <a:extLst>
              <a:ext uri="{FF2B5EF4-FFF2-40B4-BE49-F238E27FC236}">
                <a16:creationId xmlns:a16="http://schemas.microsoft.com/office/drawing/2014/main" id="{91306E28-BA38-46F5-B8BC-88038F6D179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943475" y="4713288"/>
            <a:ext cx="2300287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6" name="Untertitel 2">
            <a:extLst>
              <a:ext uri="{FF2B5EF4-FFF2-40B4-BE49-F238E27FC236}">
                <a16:creationId xmlns:a16="http://schemas.microsoft.com/office/drawing/2014/main" id="{9B9A57EA-FE38-44D6-AE3D-B4F3EC060A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47" name="Textplatzhalter 8">
            <a:extLst>
              <a:ext uri="{FF2B5EF4-FFF2-40B4-BE49-F238E27FC236}">
                <a16:creationId xmlns:a16="http://schemas.microsoft.com/office/drawing/2014/main" id="{A12A35B3-094B-4742-ABEA-3516D15BAA4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943475" y="4300582"/>
            <a:ext cx="2300287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48" name="Textplatzhalter 8">
            <a:extLst>
              <a:ext uri="{FF2B5EF4-FFF2-40B4-BE49-F238E27FC236}">
                <a16:creationId xmlns:a16="http://schemas.microsoft.com/office/drawing/2014/main" id="{9CC9674C-B951-4329-A121-7E04804815B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399462" y="4300582"/>
            <a:ext cx="2300287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54" name="Textplatzhalter 16">
            <a:extLst>
              <a:ext uri="{FF2B5EF4-FFF2-40B4-BE49-F238E27FC236}">
                <a16:creationId xmlns:a16="http://schemas.microsoft.com/office/drawing/2014/main" id="{67765B34-0AE2-40CA-9A34-4B03C65FFEBB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399462" y="4713288"/>
            <a:ext cx="2300287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36713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 Bilder Inhalt Farbfläch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ihandform: Form 22">
            <a:extLst>
              <a:ext uri="{FF2B5EF4-FFF2-40B4-BE49-F238E27FC236}">
                <a16:creationId xmlns:a16="http://schemas.microsoft.com/office/drawing/2014/main" id="{42C1C417-C6A8-42BE-9910-2D37DC5D2A62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262360 w 12192000"/>
              <a:gd name="connsiteY3" fmla="*/ 6858000 h 6858000"/>
              <a:gd name="connsiteX4" fmla="*/ 11262360 w 12192000"/>
              <a:gd name="connsiteY4" fmla="*/ 3802297 h 6858000"/>
              <a:gd name="connsiteX5" fmla="*/ 10276288 w 12192000"/>
              <a:gd name="connsiteY5" fmla="*/ 2816225 h 6858000"/>
              <a:gd name="connsiteX6" fmla="*/ 0 w 12192000"/>
              <a:gd name="connsiteY6" fmla="*/ 281622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262360" y="6858000"/>
                </a:lnTo>
                <a:lnTo>
                  <a:pt x="11262360" y="3802297"/>
                </a:lnTo>
                <a:cubicBezTo>
                  <a:pt x="11262360" y="3257704"/>
                  <a:pt x="10820881" y="2816225"/>
                  <a:pt x="10276288" y="2816225"/>
                </a:cubicBezTo>
                <a:lnTo>
                  <a:pt x="0" y="2816225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78833B7C-624A-4366-B73C-BA06FB92685A}"/>
              </a:ext>
            </a:extLst>
          </p:cNvPr>
          <p:cNvSpPr/>
          <p:nvPr/>
        </p:nvSpPr>
        <p:spPr>
          <a:xfrm>
            <a:off x="-10930" y="2601380"/>
            <a:ext cx="11503732" cy="4267200"/>
          </a:xfrm>
          <a:custGeom>
            <a:avLst/>
            <a:gdLst>
              <a:gd name="connsiteX0" fmla="*/ 0 w 11503732"/>
              <a:gd name="connsiteY0" fmla="*/ 0 h 4267200"/>
              <a:gd name="connsiteX1" fmla="*/ 10297224 w 11503732"/>
              <a:gd name="connsiteY1" fmla="*/ 0 h 4267200"/>
              <a:gd name="connsiteX2" fmla="*/ 11503732 w 11503732"/>
              <a:gd name="connsiteY2" fmla="*/ 1206508 h 4267200"/>
              <a:gd name="connsiteX3" fmla="*/ 11503732 w 11503732"/>
              <a:gd name="connsiteY3" fmla="*/ 4267200 h 4267200"/>
              <a:gd name="connsiteX4" fmla="*/ 0 w 11503732"/>
              <a:gd name="connsiteY4" fmla="*/ 426720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03732" h="4267200">
                <a:moveTo>
                  <a:pt x="0" y="0"/>
                </a:moveTo>
                <a:lnTo>
                  <a:pt x="10297224" y="0"/>
                </a:lnTo>
                <a:cubicBezTo>
                  <a:pt x="10963560" y="0"/>
                  <a:pt x="11503732" y="540172"/>
                  <a:pt x="11503732" y="1206508"/>
                </a:cubicBezTo>
                <a:lnTo>
                  <a:pt x="11503732" y="4267200"/>
                </a:lnTo>
                <a:lnTo>
                  <a:pt x="0" y="4267200"/>
                </a:ln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487488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4E6E7D95-E752-4938-A697-BF0079FA9A28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6" cy="635012"/>
          </a:xfrm>
        </p:grpSpPr>
        <p:sp>
          <p:nvSpPr>
            <p:cNvPr id="30" name="Oval 5">
              <a:extLst>
                <a:ext uri="{FF2B5EF4-FFF2-40B4-BE49-F238E27FC236}">
                  <a16:creationId xmlns:a16="http://schemas.microsoft.com/office/drawing/2014/main" id="{1D77E2A1-AC77-44E7-839B-CADFB8AA1A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607E5BD9-B18D-42DC-A03B-FFC59313D6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79A6C844-5DD2-409E-98B9-E19508E5FA87}"/>
                </a:ext>
              </a:extLst>
            </p:cNvPr>
            <p:cNvGrpSpPr/>
            <p:nvPr/>
          </p:nvGrpSpPr>
          <p:grpSpPr>
            <a:xfrm>
              <a:off x="1311217" y="1530579"/>
              <a:ext cx="1533582" cy="307590"/>
              <a:chOff x="3987943" y="2307132"/>
              <a:chExt cx="2607166" cy="522910"/>
            </a:xfrm>
          </p:grpSpPr>
          <p:sp>
            <p:nvSpPr>
              <p:cNvPr id="33" name="Freeform 7">
                <a:extLst>
                  <a:ext uri="{FF2B5EF4-FFF2-40B4-BE49-F238E27FC236}">
                    <a16:creationId xmlns:a16="http://schemas.microsoft.com/office/drawing/2014/main" id="{643D1AFD-B7D6-4A09-BFEB-A6E265C0EA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8">
                <a:extLst>
                  <a:ext uri="{FF2B5EF4-FFF2-40B4-BE49-F238E27FC236}">
                    <a16:creationId xmlns:a16="http://schemas.microsoft.com/office/drawing/2014/main" id="{40E33BC4-1E2D-4478-BF91-015ADA50B16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9">
                <a:extLst>
                  <a:ext uri="{FF2B5EF4-FFF2-40B4-BE49-F238E27FC236}">
                    <a16:creationId xmlns:a16="http://schemas.microsoft.com/office/drawing/2014/main" id="{B1369C83-92F5-4D60-B81D-1BA647CC02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0">
                <a:extLst>
                  <a:ext uri="{FF2B5EF4-FFF2-40B4-BE49-F238E27FC236}">
                    <a16:creationId xmlns:a16="http://schemas.microsoft.com/office/drawing/2014/main" id="{26C5AFE6-9457-47F3-A719-0D2F180FCD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1">
                <a:extLst>
                  <a:ext uri="{FF2B5EF4-FFF2-40B4-BE49-F238E27FC236}">
                    <a16:creationId xmlns:a16="http://schemas.microsoft.com/office/drawing/2014/main" id="{6EE3B5FE-7E51-4F77-8F4D-99C718E2FA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2">
                <a:extLst>
                  <a:ext uri="{FF2B5EF4-FFF2-40B4-BE49-F238E27FC236}">
                    <a16:creationId xmlns:a16="http://schemas.microsoft.com/office/drawing/2014/main" id="{4C62839E-3074-4973-814C-1B5157D823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3">
                <a:extLst>
                  <a:ext uri="{FF2B5EF4-FFF2-40B4-BE49-F238E27FC236}">
                    <a16:creationId xmlns:a16="http://schemas.microsoft.com/office/drawing/2014/main" id="{CBC551B8-B813-4181-B5A2-4FCDD7F799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4">
                <a:extLst>
                  <a:ext uri="{FF2B5EF4-FFF2-40B4-BE49-F238E27FC236}">
                    <a16:creationId xmlns:a16="http://schemas.microsoft.com/office/drawing/2014/main" id="{B4BC6E0C-B64B-45FC-BE32-87D981D4A3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5">
                <a:extLst>
                  <a:ext uri="{FF2B5EF4-FFF2-40B4-BE49-F238E27FC236}">
                    <a16:creationId xmlns:a16="http://schemas.microsoft.com/office/drawing/2014/main" id="{A8A873D6-99AD-4B9F-925C-0040680E39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6">
                <a:extLst>
                  <a:ext uri="{FF2B5EF4-FFF2-40B4-BE49-F238E27FC236}">
                    <a16:creationId xmlns:a16="http://schemas.microsoft.com/office/drawing/2014/main" id="{E6FE9E62-9925-40BD-83DB-748F8A9258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50" name="Bildplatzhalter 49">
            <a:extLst>
              <a:ext uri="{FF2B5EF4-FFF2-40B4-BE49-F238E27FC236}">
                <a16:creationId xmlns:a16="http://schemas.microsoft.com/office/drawing/2014/main" id="{3EE30A50-6C25-44D7-942F-A1D692F5DDE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4001642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51" name="Bildplatzhalter 50">
            <a:extLst>
              <a:ext uri="{FF2B5EF4-FFF2-40B4-BE49-F238E27FC236}">
                <a16:creationId xmlns:a16="http://schemas.microsoft.com/office/drawing/2014/main" id="{4C754E0D-D00D-406A-ABB1-2BC23994F8BF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515796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52" name="Bildplatzhalter 51">
            <a:extLst>
              <a:ext uri="{FF2B5EF4-FFF2-40B4-BE49-F238E27FC236}">
                <a16:creationId xmlns:a16="http://schemas.microsoft.com/office/drawing/2014/main" id="{E86ED2C5-07F4-4D71-ABCD-26E63A679F6E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9031105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51A2BA7-048B-4652-9F13-266927BA0590}"/>
              </a:ext>
            </a:extLst>
          </p:cNvPr>
          <p:cNvSpPr>
            <a:spLocks noGrp="1"/>
          </p:cNvSpPr>
          <p:nvPr>
            <p:ph type="dt" sz="half" idx="27"/>
          </p:nvPr>
        </p:nvSpPr>
        <p:spPr>
          <a:xfrm>
            <a:off x="11160919" y="7065971"/>
            <a:ext cx="457993" cy="101671"/>
          </a:xfrm>
        </p:spPr>
        <p:txBody>
          <a:bodyPr/>
          <a:lstStyle/>
          <a:p>
            <a:pPr algn="r"/>
            <a:fld id="{1643DB49-4845-4CE2-92EF-31487D22C20D}" type="datetime1">
              <a:rPr lang="de-DE" smtClean="0"/>
              <a:t>2022-01-1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8EE3B0B-3CCF-427F-AEAB-8D00A76E7729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>
          <a:xfrm>
            <a:off x="8401051" y="7065971"/>
            <a:ext cx="2522534" cy="101671"/>
          </a:xfrm>
        </p:spPr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BFF838C-BDC9-42AC-8249-5DDDCE8081A2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>
          <a:xfrm>
            <a:off x="11725538" y="7065971"/>
            <a:ext cx="191824" cy="101671"/>
          </a:xfrm>
        </p:spPr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6" name="Untertitel 2">
            <a:extLst>
              <a:ext uri="{FF2B5EF4-FFF2-40B4-BE49-F238E27FC236}">
                <a16:creationId xmlns:a16="http://schemas.microsoft.com/office/drawing/2014/main" id="{16B6E171-4B7C-469F-B35A-49E7222610A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48" name="Textplatzhalter 8">
            <a:extLst>
              <a:ext uri="{FF2B5EF4-FFF2-40B4-BE49-F238E27FC236}">
                <a16:creationId xmlns:a16="http://schemas.microsoft.com/office/drawing/2014/main" id="{13F65E49-137F-49CC-96C9-677D761EF6C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487489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53" name="Textplatzhalter 16">
            <a:extLst>
              <a:ext uri="{FF2B5EF4-FFF2-40B4-BE49-F238E27FC236}">
                <a16:creationId xmlns:a16="http://schemas.microsoft.com/office/drawing/2014/main" id="{A54F49FB-AE91-4E83-80C5-3CF742AB40C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487489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4" name="Textplatzhalter 8">
            <a:extLst>
              <a:ext uri="{FF2B5EF4-FFF2-40B4-BE49-F238E27FC236}">
                <a16:creationId xmlns:a16="http://schemas.microsoft.com/office/drawing/2014/main" id="{64FF7AE2-3588-465D-A4E3-EDCD553F9BC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001642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55" name="Textplatzhalter 16">
            <a:extLst>
              <a:ext uri="{FF2B5EF4-FFF2-40B4-BE49-F238E27FC236}">
                <a16:creationId xmlns:a16="http://schemas.microsoft.com/office/drawing/2014/main" id="{A1F604F1-EB11-400B-ABDD-3099399B4ADC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001642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9" name="Textplatzhalter 8">
            <a:extLst>
              <a:ext uri="{FF2B5EF4-FFF2-40B4-BE49-F238E27FC236}">
                <a16:creationId xmlns:a16="http://schemas.microsoft.com/office/drawing/2014/main" id="{5BC4B0FA-D582-4036-93F1-96814F49710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515796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60" name="Textplatzhalter 16">
            <a:extLst>
              <a:ext uri="{FF2B5EF4-FFF2-40B4-BE49-F238E27FC236}">
                <a16:creationId xmlns:a16="http://schemas.microsoft.com/office/drawing/2014/main" id="{4B580C67-39E0-4EC8-9F24-8E7864C39E6B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515796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1" name="Textplatzhalter 8">
            <a:extLst>
              <a:ext uri="{FF2B5EF4-FFF2-40B4-BE49-F238E27FC236}">
                <a16:creationId xmlns:a16="http://schemas.microsoft.com/office/drawing/2014/main" id="{E7FBAB3C-EF31-417C-9446-82665CB1E6D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031105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4</a:t>
            </a:r>
          </a:p>
        </p:txBody>
      </p:sp>
      <p:sp>
        <p:nvSpPr>
          <p:cNvPr id="62" name="Textplatzhalter 16">
            <a:extLst>
              <a:ext uri="{FF2B5EF4-FFF2-40B4-BE49-F238E27FC236}">
                <a16:creationId xmlns:a16="http://schemas.microsoft.com/office/drawing/2014/main" id="{DCC8B642-B619-4D5D-BEE0-CD8E23A77B03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031105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38996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ontakt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Freihandform: Form 26">
            <a:extLst>
              <a:ext uri="{FF2B5EF4-FFF2-40B4-BE49-F238E27FC236}">
                <a16:creationId xmlns:a16="http://schemas.microsoft.com/office/drawing/2014/main" id="{DBA92605-BBDE-4D7C-B39F-1E98C189EE57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191998 w 12192000"/>
              <a:gd name="connsiteY3" fmla="*/ 6858000 h 6858000"/>
              <a:gd name="connsiteX4" fmla="*/ 12191998 w 12192000"/>
              <a:gd name="connsiteY4" fmla="*/ 3429000 h 6858000"/>
              <a:gd name="connsiteX5" fmla="*/ 8518560 w 12192000"/>
              <a:gd name="connsiteY5" fmla="*/ 3429000 h 6858000"/>
              <a:gd name="connsiteX6" fmla="*/ 7608881 w 12192000"/>
              <a:gd name="connsiteY6" fmla="*/ 4338679 h 6858000"/>
              <a:gd name="connsiteX7" fmla="*/ 7608881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91998" y="6858000"/>
                </a:lnTo>
                <a:lnTo>
                  <a:pt x="12191998" y="3429000"/>
                </a:lnTo>
                <a:lnTo>
                  <a:pt x="8518560" y="3429000"/>
                </a:lnTo>
                <a:cubicBezTo>
                  <a:pt x="8016158" y="3429000"/>
                  <a:pt x="7608881" y="3836277"/>
                  <a:pt x="7608881" y="4338679"/>
                </a:cubicBezTo>
                <a:lnTo>
                  <a:pt x="760888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8" name="Rechteck: eine Ecke abgerundet 27">
            <a:extLst>
              <a:ext uri="{FF2B5EF4-FFF2-40B4-BE49-F238E27FC236}">
                <a16:creationId xmlns:a16="http://schemas.microsoft.com/office/drawing/2014/main" id="{B0374E10-3286-47C8-8ED2-2A4F88E7886F}"/>
              </a:ext>
            </a:extLst>
          </p:cNvPr>
          <p:cNvSpPr/>
          <p:nvPr/>
        </p:nvSpPr>
        <p:spPr>
          <a:xfrm flipH="1">
            <a:off x="7859179" y="3253843"/>
            <a:ext cx="4343397" cy="3614737"/>
          </a:xfrm>
          <a:prstGeom prst="round1Rect">
            <a:avLst>
              <a:gd name="adj" fmla="val 2652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16C1E5B9-FEB6-4AA6-BD6B-F927D33B7586}"/>
              </a:ext>
            </a:extLst>
          </p:cNvPr>
          <p:cNvGrpSpPr/>
          <p:nvPr/>
        </p:nvGrpSpPr>
        <p:grpSpPr>
          <a:xfrm>
            <a:off x="1487489" y="1592263"/>
            <a:ext cx="2961647" cy="790184"/>
            <a:chOff x="464743" y="1368699"/>
            <a:chExt cx="2380058" cy="635012"/>
          </a:xfrm>
        </p:grpSpPr>
        <p:sp>
          <p:nvSpPr>
            <p:cNvPr id="13" name="Oval 5">
              <a:extLst>
                <a:ext uri="{FF2B5EF4-FFF2-40B4-BE49-F238E27FC236}">
                  <a16:creationId xmlns:a16="http://schemas.microsoft.com/office/drawing/2014/main" id="{A63FDF46-9240-4989-8BD0-C8E6ACCDA8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BCEEBEBB-AF39-4FA0-BF2A-C2F67F3089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706779D2-753C-408C-8D8F-2EA69C718621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16" name="Freeform 7">
                <a:extLst>
                  <a:ext uri="{FF2B5EF4-FFF2-40B4-BE49-F238E27FC236}">
                    <a16:creationId xmlns:a16="http://schemas.microsoft.com/office/drawing/2014/main" id="{80064577-26DD-4C45-9CA7-CA84B29940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8">
                <a:extLst>
                  <a:ext uri="{FF2B5EF4-FFF2-40B4-BE49-F238E27FC236}">
                    <a16:creationId xmlns:a16="http://schemas.microsoft.com/office/drawing/2014/main" id="{9D448FEE-A734-446E-B740-78A968A27C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9">
                <a:extLst>
                  <a:ext uri="{FF2B5EF4-FFF2-40B4-BE49-F238E27FC236}">
                    <a16:creationId xmlns:a16="http://schemas.microsoft.com/office/drawing/2014/main" id="{888D8F5D-79D7-4B65-A82D-00FF784BBD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0">
                <a:extLst>
                  <a:ext uri="{FF2B5EF4-FFF2-40B4-BE49-F238E27FC236}">
                    <a16:creationId xmlns:a16="http://schemas.microsoft.com/office/drawing/2014/main" id="{C200D8BD-ED64-4635-B9AE-FBB6DE7A03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1">
                <a:extLst>
                  <a:ext uri="{FF2B5EF4-FFF2-40B4-BE49-F238E27FC236}">
                    <a16:creationId xmlns:a16="http://schemas.microsoft.com/office/drawing/2014/main" id="{4AF606B8-E6F5-4239-AF0E-C3B1CB66F7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2">
                <a:extLst>
                  <a:ext uri="{FF2B5EF4-FFF2-40B4-BE49-F238E27FC236}">
                    <a16:creationId xmlns:a16="http://schemas.microsoft.com/office/drawing/2014/main" id="{4FA34997-3170-4E22-BE0E-39B040570F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3">
                <a:extLst>
                  <a:ext uri="{FF2B5EF4-FFF2-40B4-BE49-F238E27FC236}">
                    <a16:creationId xmlns:a16="http://schemas.microsoft.com/office/drawing/2014/main" id="{E0899F0A-43C2-4A2B-BB23-92FD4E59A0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4">
                <a:extLst>
                  <a:ext uri="{FF2B5EF4-FFF2-40B4-BE49-F238E27FC236}">
                    <a16:creationId xmlns:a16="http://schemas.microsoft.com/office/drawing/2014/main" id="{002B1808-6EF8-43A6-98A3-F218A91060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5">
                <a:extLst>
                  <a:ext uri="{FF2B5EF4-FFF2-40B4-BE49-F238E27FC236}">
                    <a16:creationId xmlns:a16="http://schemas.microsoft.com/office/drawing/2014/main" id="{E469321C-D642-4F96-AE63-CD87201D47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6">
                <a:extLst>
                  <a:ext uri="{FF2B5EF4-FFF2-40B4-BE49-F238E27FC236}">
                    <a16:creationId xmlns:a16="http://schemas.microsoft.com/office/drawing/2014/main" id="{4D226FE2-5036-43B8-8F8D-521582CD79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6" name="Untertitel 2">
            <a:extLst>
              <a:ext uri="{FF2B5EF4-FFF2-40B4-BE49-F238E27FC236}">
                <a16:creationId xmlns:a16="http://schemas.microsoft.com/office/drawing/2014/main" id="{D96F2E30-AD82-4714-8A11-F958AF4B58D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1487488" y="3731319"/>
            <a:ext cx="4608513" cy="555166"/>
          </a:xfrm>
        </p:spPr>
        <p:txBody>
          <a:bodyPr anchor="t"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latin typeface="+mj-lt"/>
              </a:defRPr>
            </a:lvl5pPr>
            <a:lvl6pPr marL="0" indent="0" algn="l">
              <a:buNone/>
              <a:defRPr sz="1600">
                <a:latin typeface="+mj-lt"/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1600">
                <a:latin typeface="+mj-lt"/>
              </a:defRPr>
            </a:lvl8pPr>
            <a:lvl9pPr marL="0" indent="0" algn="l">
              <a:buNone/>
              <a:defRPr sz="1600">
                <a:latin typeface="+mj-lt"/>
              </a:defRPr>
            </a:lvl9pPr>
          </a:lstStyle>
          <a:p>
            <a:pPr lvl="0"/>
            <a:r>
              <a:rPr lang="de-DE"/>
              <a:t>Ansprechpartner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5A9BCAB-9C87-4D36-B881-012BF99022A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160919" y="6991314"/>
            <a:ext cx="457993" cy="101671"/>
          </a:xfrm>
        </p:spPr>
        <p:txBody>
          <a:bodyPr/>
          <a:lstStyle/>
          <a:p>
            <a:pPr algn="r"/>
            <a:fld id="{0562F42C-22F7-45A9-ABA3-67BEE5E7AE4D}" type="datetime1">
              <a:rPr lang="de-DE" smtClean="0"/>
              <a:t>2022-01-1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61069FE-2725-4BCC-BCF7-A78591EA81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401051" y="6991314"/>
            <a:ext cx="2522534" cy="101671"/>
          </a:xfrm>
        </p:spPr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FEE5DB6-0E07-4B7F-B8B0-939A52CB41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25538" y="6991314"/>
            <a:ext cx="191824" cy="101671"/>
          </a:xfrm>
        </p:spPr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FC919270-0373-4724-98EA-4F5244A618BB}"/>
              </a:ext>
            </a:extLst>
          </p:cNvPr>
          <p:cNvSpPr txBox="1">
            <a:spLocks/>
          </p:cNvSpPr>
          <p:nvPr/>
        </p:nvSpPr>
        <p:spPr>
          <a:xfrm>
            <a:off x="1487489" y="2825750"/>
            <a:ext cx="4608514" cy="1216025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lvl1pPr lvl="0">
              <a:lnSpc>
                <a:spcPct val="80000"/>
              </a:lnSpc>
              <a:spcBef>
                <a:spcPct val="0"/>
              </a:spcBef>
              <a:buNone/>
              <a:defRPr lang="de-DE" sz="5400" baseline="0" dirty="0">
                <a:latin typeface="Officina Sans ITC Pro Medium" panose="020C0606030503020204" pitchFamily="34" charset="0"/>
                <a:ea typeface="Inter Medium" panose="020B0502030000000004" pitchFamily="34" charset="0"/>
              </a:defRPr>
            </a:lvl1pPr>
            <a:lvl2pPr>
              <a:lnSpc>
                <a:spcPct val="80000"/>
              </a:lnSpc>
              <a:defRPr sz="5400" baseline="0">
                <a:latin typeface="+mj-lt"/>
              </a:defRPr>
            </a:lvl2pPr>
            <a:lvl3pPr>
              <a:lnSpc>
                <a:spcPct val="80000"/>
              </a:lnSpc>
              <a:defRPr sz="5400" baseline="0">
                <a:latin typeface="+mj-lt"/>
              </a:defRPr>
            </a:lvl3pPr>
            <a:lvl4pPr>
              <a:lnSpc>
                <a:spcPct val="80000"/>
              </a:lnSpc>
              <a:defRPr sz="5400" b="0" baseline="0">
                <a:latin typeface="+mj-lt"/>
              </a:defRPr>
            </a:lvl4pPr>
            <a:lvl5pPr>
              <a:lnSpc>
                <a:spcPct val="80000"/>
              </a:lnSpc>
              <a:defRPr sz="5400" baseline="0">
                <a:latin typeface="+mj-lt"/>
              </a:defRPr>
            </a:lvl5pPr>
            <a:lvl6pPr>
              <a:lnSpc>
                <a:spcPct val="80000"/>
              </a:lnSpc>
              <a:defRPr sz="5400" baseline="0">
                <a:latin typeface="+mj-lt"/>
              </a:defRPr>
            </a:lvl6pPr>
            <a:lvl7pPr>
              <a:lnSpc>
                <a:spcPct val="80000"/>
              </a:lnSpc>
              <a:defRPr sz="5400" baseline="0">
                <a:latin typeface="+mj-lt"/>
              </a:defRPr>
            </a:lvl7pPr>
            <a:lvl8pPr>
              <a:lnSpc>
                <a:spcPct val="80000"/>
              </a:lnSpc>
              <a:defRPr sz="5400" baseline="0">
                <a:latin typeface="+mj-lt"/>
              </a:defRPr>
            </a:lvl8pPr>
            <a:lvl9pPr>
              <a:lnSpc>
                <a:spcPct val="80000"/>
              </a:lnSpc>
              <a:defRPr sz="5400" baseline="0">
                <a:latin typeface="+mj-lt"/>
              </a:defRPr>
            </a:lvl9pPr>
          </a:lstStyle>
          <a:p>
            <a:pPr lvl="0"/>
            <a:r>
              <a:rPr lang="de-DE" noProof="0"/>
              <a:t>Kontakt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C7B08C6D-40F5-4999-BE63-3548B437CFA0}"/>
              </a:ext>
            </a:extLst>
          </p:cNvPr>
          <p:cNvSpPr txBox="1">
            <a:spLocks/>
          </p:cNvSpPr>
          <p:nvPr/>
        </p:nvSpPr>
        <p:spPr>
          <a:xfrm>
            <a:off x="1487488" y="4286485"/>
            <a:ext cx="4608513" cy="189275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90000"/>
              <a:buFont typeface="Inter Semi Bold" panose="020B0702030000000004" pitchFamily="34" charset="0"/>
              <a:buNone/>
              <a:defRPr lang="de-DE" sz="1600" b="0" dirty="0">
                <a:latin typeface="+mj-lt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tabLst/>
              <a:defRPr sz="1600" b="0"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defRPr sz="1600" b="0">
                <a:latin typeface="+mj-lt"/>
              </a:defRPr>
            </a:lvl5pPr>
            <a:lvl6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8pPr>
            <a:lvl9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9pPr>
          </a:lstStyle>
          <a:p>
            <a:pPr lvl="0">
              <a:spcAft>
                <a:spcPts val="1200"/>
              </a:spcAft>
            </a:pPr>
            <a:r>
              <a:rPr lang="de-DE" noProof="0" err="1">
                <a:latin typeface="+mn-lt"/>
              </a:rPr>
              <a:t>LichtBlick</a:t>
            </a:r>
            <a:r>
              <a:rPr lang="de-DE" noProof="0">
                <a:latin typeface="+mn-lt"/>
              </a:rPr>
              <a:t> SE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Zirkusweg 6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20359 Hamburg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Telefon: 040-63 60 0</a:t>
            </a:r>
          </a:p>
          <a:p>
            <a:pPr lvl="0"/>
            <a:r>
              <a:rPr lang="de-DE" noProof="0">
                <a:latin typeface="+mn-lt"/>
              </a:rPr>
              <a:t>info@lichtblick.de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www.lichtblick.de</a:t>
            </a:r>
          </a:p>
        </p:txBody>
      </p:sp>
    </p:spTree>
    <p:extLst>
      <p:ext uri="{BB962C8B-B14F-4D97-AF65-F5344CB8AC3E}">
        <p14:creationId xmlns:p14="http://schemas.microsoft.com/office/powerpoint/2010/main" val="840098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ontaktfolie Bil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hteck 25">
            <a:extLst>
              <a:ext uri="{FF2B5EF4-FFF2-40B4-BE49-F238E27FC236}">
                <a16:creationId xmlns:a16="http://schemas.microsoft.com/office/drawing/2014/main" id="{0142DB26-9077-4456-9A99-1FFF392AF939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33" name="Bildplatzhalter 32">
            <a:extLst>
              <a:ext uri="{FF2B5EF4-FFF2-40B4-BE49-F238E27FC236}">
                <a16:creationId xmlns:a16="http://schemas.microsoft.com/office/drawing/2014/main" id="{02C3296D-204D-4287-9946-F03ED5B09CF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401050 w 12192000"/>
              <a:gd name="connsiteY3" fmla="*/ 6858000 h 6858000"/>
              <a:gd name="connsiteX4" fmla="*/ 8401050 w 12192000"/>
              <a:gd name="connsiteY4" fmla="*/ 3420567 h 6858000"/>
              <a:gd name="connsiteX5" fmla="*/ 7164883 w 12192000"/>
              <a:gd name="connsiteY5" fmla="*/ 2184400 h 6858000"/>
              <a:gd name="connsiteX6" fmla="*/ 0 w 12192000"/>
              <a:gd name="connsiteY6" fmla="*/ 21844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401050" y="6858000"/>
                </a:lnTo>
                <a:lnTo>
                  <a:pt x="8401050" y="3420567"/>
                </a:lnTo>
                <a:cubicBezTo>
                  <a:pt x="8401050" y="2737851"/>
                  <a:pt x="7847599" y="2184400"/>
                  <a:pt x="7164883" y="2184400"/>
                </a:cubicBezTo>
                <a:lnTo>
                  <a:pt x="0" y="218440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16C1E5B9-FEB6-4AA6-BD6B-F927D33B7586}"/>
              </a:ext>
            </a:extLst>
          </p:cNvPr>
          <p:cNvGrpSpPr/>
          <p:nvPr/>
        </p:nvGrpSpPr>
        <p:grpSpPr>
          <a:xfrm>
            <a:off x="1487485" y="2887661"/>
            <a:ext cx="1512888" cy="403647"/>
            <a:chOff x="464743" y="1368699"/>
            <a:chExt cx="2380058" cy="635012"/>
          </a:xfrm>
        </p:grpSpPr>
        <p:sp>
          <p:nvSpPr>
            <p:cNvPr id="13" name="Oval 5">
              <a:extLst>
                <a:ext uri="{FF2B5EF4-FFF2-40B4-BE49-F238E27FC236}">
                  <a16:creationId xmlns:a16="http://schemas.microsoft.com/office/drawing/2014/main" id="{A63FDF46-9240-4989-8BD0-C8E6ACCDA8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BCEEBEBB-AF39-4FA0-BF2A-C2F67F3089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706779D2-753C-408C-8D8F-2EA69C718621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16" name="Freeform 7">
                <a:extLst>
                  <a:ext uri="{FF2B5EF4-FFF2-40B4-BE49-F238E27FC236}">
                    <a16:creationId xmlns:a16="http://schemas.microsoft.com/office/drawing/2014/main" id="{80064577-26DD-4C45-9CA7-CA84B29940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8">
                <a:extLst>
                  <a:ext uri="{FF2B5EF4-FFF2-40B4-BE49-F238E27FC236}">
                    <a16:creationId xmlns:a16="http://schemas.microsoft.com/office/drawing/2014/main" id="{9D448FEE-A734-446E-B740-78A968A27C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9">
                <a:extLst>
                  <a:ext uri="{FF2B5EF4-FFF2-40B4-BE49-F238E27FC236}">
                    <a16:creationId xmlns:a16="http://schemas.microsoft.com/office/drawing/2014/main" id="{888D8F5D-79D7-4B65-A82D-00FF784BBD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0">
                <a:extLst>
                  <a:ext uri="{FF2B5EF4-FFF2-40B4-BE49-F238E27FC236}">
                    <a16:creationId xmlns:a16="http://schemas.microsoft.com/office/drawing/2014/main" id="{C200D8BD-ED64-4635-B9AE-FBB6DE7A03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1">
                <a:extLst>
                  <a:ext uri="{FF2B5EF4-FFF2-40B4-BE49-F238E27FC236}">
                    <a16:creationId xmlns:a16="http://schemas.microsoft.com/office/drawing/2014/main" id="{4AF606B8-E6F5-4239-AF0E-C3B1CB66F7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2">
                <a:extLst>
                  <a:ext uri="{FF2B5EF4-FFF2-40B4-BE49-F238E27FC236}">
                    <a16:creationId xmlns:a16="http://schemas.microsoft.com/office/drawing/2014/main" id="{4FA34997-3170-4E22-BE0E-39B040570F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3">
                <a:extLst>
                  <a:ext uri="{FF2B5EF4-FFF2-40B4-BE49-F238E27FC236}">
                    <a16:creationId xmlns:a16="http://schemas.microsoft.com/office/drawing/2014/main" id="{E0899F0A-43C2-4A2B-BB23-92FD4E59A0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4">
                <a:extLst>
                  <a:ext uri="{FF2B5EF4-FFF2-40B4-BE49-F238E27FC236}">
                    <a16:creationId xmlns:a16="http://schemas.microsoft.com/office/drawing/2014/main" id="{002B1808-6EF8-43A6-98A3-F218A91060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5">
                <a:extLst>
                  <a:ext uri="{FF2B5EF4-FFF2-40B4-BE49-F238E27FC236}">
                    <a16:creationId xmlns:a16="http://schemas.microsoft.com/office/drawing/2014/main" id="{E469321C-D642-4F96-AE63-CD87201D47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6">
                <a:extLst>
                  <a:ext uri="{FF2B5EF4-FFF2-40B4-BE49-F238E27FC236}">
                    <a16:creationId xmlns:a16="http://schemas.microsoft.com/office/drawing/2014/main" id="{4D226FE2-5036-43B8-8F8D-521582CD79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437962F-E714-42F7-B807-3B72669F46F9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11160919" y="7101333"/>
            <a:ext cx="457993" cy="101671"/>
          </a:xfrm>
        </p:spPr>
        <p:txBody>
          <a:bodyPr/>
          <a:lstStyle/>
          <a:p>
            <a:pPr algn="r"/>
            <a:fld id="{AB6955BF-50CB-4E48-9639-1CCCF7089D8B}" type="datetime1">
              <a:rPr lang="de-DE" smtClean="0"/>
              <a:t>2022-01-1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99922A8-9C1D-4216-90A2-3392B73412B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8401051" y="7101333"/>
            <a:ext cx="2522534" cy="101671"/>
          </a:xfrm>
        </p:spPr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FBD4C10-6C65-4DD3-B1F1-2C774F7CDFBA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11725538" y="7101333"/>
            <a:ext cx="191824" cy="101671"/>
          </a:xfrm>
        </p:spPr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9" name="Untertitel 2">
            <a:extLst>
              <a:ext uri="{FF2B5EF4-FFF2-40B4-BE49-F238E27FC236}">
                <a16:creationId xmlns:a16="http://schemas.microsoft.com/office/drawing/2014/main" id="{78D7C0B7-74BD-41CB-ABE2-0EC389AF3F4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1487485" y="4041776"/>
            <a:ext cx="4608513" cy="555166"/>
          </a:xfrm>
        </p:spPr>
        <p:txBody>
          <a:bodyPr anchor="t"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latin typeface="+mj-lt"/>
              </a:defRPr>
            </a:lvl5pPr>
            <a:lvl6pPr marL="0" indent="0" algn="l">
              <a:buNone/>
              <a:defRPr sz="1600">
                <a:latin typeface="+mj-lt"/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1600">
                <a:latin typeface="+mj-lt"/>
              </a:defRPr>
            </a:lvl8pPr>
            <a:lvl9pPr marL="0" indent="0" algn="l">
              <a:buNone/>
              <a:defRPr sz="1600">
                <a:latin typeface="+mj-lt"/>
              </a:defRPr>
            </a:lvl9pPr>
          </a:lstStyle>
          <a:p>
            <a:pPr lvl="0"/>
            <a:r>
              <a:rPr lang="de-DE"/>
              <a:t>Ansprechpartner</a:t>
            </a: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986032D8-4031-4467-BE05-2556CF2BD66E}"/>
              </a:ext>
            </a:extLst>
          </p:cNvPr>
          <p:cNvSpPr txBox="1">
            <a:spLocks/>
          </p:cNvSpPr>
          <p:nvPr/>
        </p:nvSpPr>
        <p:spPr>
          <a:xfrm>
            <a:off x="1487486" y="3458633"/>
            <a:ext cx="4608514" cy="58314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lvl1pPr lvl="0">
              <a:lnSpc>
                <a:spcPct val="80000"/>
              </a:lnSpc>
              <a:spcBef>
                <a:spcPct val="0"/>
              </a:spcBef>
              <a:buNone/>
              <a:defRPr lang="de-DE" sz="5400" baseline="0" dirty="0">
                <a:latin typeface="Officina Sans ITC Pro Medium" panose="020C0606030503020204" pitchFamily="34" charset="0"/>
                <a:ea typeface="Inter Medium" panose="020B0502030000000004" pitchFamily="34" charset="0"/>
              </a:defRPr>
            </a:lvl1pPr>
            <a:lvl2pPr>
              <a:lnSpc>
                <a:spcPct val="80000"/>
              </a:lnSpc>
              <a:defRPr sz="5400" baseline="0">
                <a:latin typeface="+mj-lt"/>
              </a:defRPr>
            </a:lvl2pPr>
            <a:lvl3pPr>
              <a:lnSpc>
                <a:spcPct val="80000"/>
              </a:lnSpc>
              <a:defRPr sz="5400" baseline="0">
                <a:latin typeface="+mj-lt"/>
              </a:defRPr>
            </a:lvl3pPr>
            <a:lvl4pPr>
              <a:lnSpc>
                <a:spcPct val="80000"/>
              </a:lnSpc>
              <a:defRPr sz="5400" b="0" baseline="0">
                <a:latin typeface="+mj-lt"/>
              </a:defRPr>
            </a:lvl4pPr>
            <a:lvl5pPr>
              <a:lnSpc>
                <a:spcPct val="80000"/>
              </a:lnSpc>
              <a:defRPr sz="5400" baseline="0">
                <a:latin typeface="+mj-lt"/>
              </a:defRPr>
            </a:lvl5pPr>
            <a:lvl6pPr>
              <a:lnSpc>
                <a:spcPct val="80000"/>
              </a:lnSpc>
              <a:defRPr sz="5400" baseline="0">
                <a:latin typeface="+mj-lt"/>
              </a:defRPr>
            </a:lvl6pPr>
            <a:lvl7pPr>
              <a:lnSpc>
                <a:spcPct val="80000"/>
              </a:lnSpc>
              <a:defRPr sz="5400" baseline="0">
                <a:latin typeface="+mj-lt"/>
              </a:defRPr>
            </a:lvl7pPr>
            <a:lvl8pPr>
              <a:lnSpc>
                <a:spcPct val="80000"/>
              </a:lnSpc>
              <a:defRPr sz="5400" baseline="0">
                <a:latin typeface="+mj-lt"/>
              </a:defRPr>
            </a:lvl8pPr>
            <a:lvl9pPr>
              <a:lnSpc>
                <a:spcPct val="80000"/>
              </a:lnSpc>
              <a:defRPr sz="5400" baseline="0">
                <a:latin typeface="+mj-lt"/>
              </a:defRPr>
            </a:lvl9pPr>
          </a:lstStyle>
          <a:p>
            <a:pPr lvl="0"/>
            <a:r>
              <a:rPr lang="de-DE" noProof="0"/>
              <a:t>Kontakt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1DB7F4A3-B0B9-4C76-8A25-C5E91C59FE24}"/>
              </a:ext>
            </a:extLst>
          </p:cNvPr>
          <p:cNvSpPr txBox="1">
            <a:spLocks/>
          </p:cNvSpPr>
          <p:nvPr/>
        </p:nvSpPr>
        <p:spPr>
          <a:xfrm>
            <a:off x="1487485" y="4596942"/>
            <a:ext cx="4608513" cy="189275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90000"/>
              <a:buFont typeface="Inter Semi Bold" panose="020B0702030000000004" pitchFamily="34" charset="0"/>
              <a:buNone/>
              <a:defRPr lang="de-DE" sz="1600" b="0" dirty="0">
                <a:latin typeface="+mj-lt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tabLst/>
              <a:defRPr sz="1600" b="0"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defRPr sz="1600" b="0">
                <a:latin typeface="+mj-lt"/>
              </a:defRPr>
            </a:lvl5pPr>
            <a:lvl6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8pPr>
            <a:lvl9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9pPr>
          </a:lstStyle>
          <a:p>
            <a:pPr lvl="0">
              <a:spcAft>
                <a:spcPts val="1200"/>
              </a:spcAft>
            </a:pPr>
            <a:r>
              <a:rPr lang="de-DE" noProof="0" err="1"/>
              <a:t>LichtBlick</a:t>
            </a:r>
            <a:r>
              <a:rPr lang="de-DE" noProof="0"/>
              <a:t> SE</a:t>
            </a:r>
            <a:br>
              <a:rPr lang="de-DE" noProof="0"/>
            </a:br>
            <a:r>
              <a:rPr lang="de-DE" noProof="0"/>
              <a:t>Zirkusweg 6</a:t>
            </a:r>
            <a:br>
              <a:rPr lang="de-DE" noProof="0"/>
            </a:br>
            <a:r>
              <a:rPr lang="de-DE" noProof="0"/>
              <a:t>20359 Hamburg</a:t>
            </a:r>
            <a:br>
              <a:rPr lang="de-DE" noProof="0"/>
            </a:br>
            <a:r>
              <a:rPr lang="de-DE" noProof="0"/>
              <a:t>Telefon: 040-63 60 0</a:t>
            </a:r>
          </a:p>
          <a:p>
            <a:pPr lvl="0"/>
            <a:r>
              <a:rPr lang="de-DE" noProof="0"/>
              <a:t>info@lichtblick.de</a:t>
            </a:r>
            <a:br>
              <a:rPr lang="de-DE" noProof="0"/>
            </a:br>
            <a:r>
              <a:rPr lang="de-DE" noProof="0"/>
              <a:t>www.lichtblick.de</a:t>
            </a:r>
          </a:p>
        </p:txBody>
      </p:sp>
    </p:spTree>
    <p:extLst>
      <p:ext uri="{BB962C8B-B14F-4D97-AF65-F5344CB8AC3E}">
        <p14:creationId xmlns:p14="http://schemas.microsoft.com/office/powerpoint/2010/main" val="21291002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er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EB1863D8-DB63-4C22-AAA7-72EDC9CB82FD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6EA14A0-3613-4360-88EF-0253BBAD92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5F93115F-1834-48CE-A1AC-1273E7309C01}" type="datetime1">
              <a:rPr lang="de-DE" smtClean="0"/>
              <a:t>2022-01-1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D6DB60C-42BE-40BD-8FF3-383B62B0E6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3053749-1ECC-4AB5-901B-624404F25B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8A1FF1D3-3173-46C3-A244-B65A4C046D40}"/>
              </a:ext>
            </a:extLst>
          </p:cNvPr>
          <p:cNvGrpSpPr/>
          <p:nvPr/>
        </p:nvGrpSpPr>
        <p:grpSpPr>
          <a:xfrm>
            <a:off x="10990764" y="364362"/>
            <a:ext cx="867864" cy="231551"/>
            <a:chOff x="464743" y="1368699"/>
            <a:chExt cx="2380058" cy="635012"/>
          </a:xfrm>
        </p:grpSpPr>
        <p:sp>
          <p:nvSpPr>
            <p:cNvPr id="9" name="Oval 5">
              <a:extLst>
                <a:ext uri="{FF2B5EF4-FFF2-40B4-BE49-F238E27FC236}">
                  <a16:creationId xmlns:a16="http://schemas.microsoft.com/office/drawing/2014/main" id="{EDACADA7-20C9-4408-BEAA-E5A9DD1BB5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1908261F-7D21-4331-9B51-D5EA24EADD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1" name="Gruppieren 10">
              <a:extLst>
                <a:ext uri="{FF2B5EF4-FFF2-40B4-BE49-F238E27FC236}">
                  <a16:creationId xmlns:a16="http://schemas.microsoft.com/office/drawing/2014/main" id="{587CD074-2D91-4FBC-9D30-00760237743D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12" name="Freeform 7">
                <a:extLst>
                  <a:ext uri="{FF2B5EF4-FFF2-40B4-BE49-F238E27FC236}">
                    <a16:creationId xmlns:a16="http://schemas.microsoft.com/office/drawing/2014/main" id="{7A8C561C-87CE-45E1-9CFA-9512373D99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3" name="Freeform 8">
                <a:extLst>
                  <a:ext uri="{FF2B5EF4-FFF2-40B4-BE49-F238E27FC236}">
                    <a16:creationId xmlns:a16="http://schemas.microsoft.com/office/drawing/2014/main" id="{72EC9B22-1CF8-4F2A-8E57-58A39ABCA97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4" name="Freeform 9">
                <a:extLst>
                  <a:ext uri="{FF2B5EF4-FFF2-40B4-BE49-F238E27FC236}">
                    <a16:creationId xmlns:a16="http://schemas.microsoft.com/office/drawing/2014/main" id="{AC15ECBF-DF59-45DD-AE5F-B76DA979A4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5" name="Freeform 10">
                <a:extLst>
                  <a:ext uri="{FF2B5EF4-FFF2-40B4-BE49-F238E27FC236}">
                    <a16:creationId xmlns:a16="http://schemas.microsoft.com/office/drawing/2014/main" id="{D73A98C9-6BEB-4661-9643-E74C5A30FA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6" name="Freeform 11">
                <a:extLst>
                  <a:ext uri="{FF2B5EF4-FFF2-40B4-BE49-F238E27FC236}">
                    <a16:creationId xmlns:a16="http://schemas.microsoft.com/office/drawing/2014/main" id="{413BD688-67B3-4777-AE5E-47FB317A07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12">
                <a:extLst>
                  <a:ext uri="{FF2B5EF4-FFF2-40B4-BE49-F238E27FC236}">
                    <a16:creationId xmlns:a16="http://schemas.microsoft.com/office/drawing/2014/main" id="{21D675A5-E087-4E40-92F2-955977DF888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13">
                <a:extLst>
                  <a:ext uri="{FF2B5EF4-FFF2-40B4-BE49-F238E27FC236}">
                    <a16:creationId xmlns:a16="http://schemas.microsoft.com/office/drawing/2014/main" id="{40FB772E-762E-437E-BB51-5DD22DC196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4">
                <a:extLst>
                  <a:ext uri="{FF2B5EF4-FFF2-40B4-BE49-F238E27FC236}">
                    <a16:creationId xmlns:a16="http://schemas.microsoft.com/office/drawing/2014/main" id="{19EF3042-F9D9-42E5-BA79-4A9CD09A5A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5">
                <a:extLst>
                  <a:ext uri="{FF2B5EF4-FFF2-40B4-BE49-F238E27FC236}">
                    <a16:creationId xmlns:a16="http://schemas.microsoft.com/office/drawing/2014/main" id="{EC7CE5F6-A704-449A-BF6A-DEC723415D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6">
                <a:extLst>
                  <a:ext uri="{FF2B5EF4-FFF2-40B4-BE49-F238E27FC236}">
                    <a16:creationId xmlns:a16="http://schemas.microsoft.com/office/drawing/2014/main" id="{BDE56437-557C-4D2A-922C-2208778863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57506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oke_LichtBlic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F380F37C-B55F-4B1E-85A9-642BBA4F59BB}"/>
              </a:ext>
            </a:extLst>
          </p:cNvPr>
          <p:cNvGrpSpPr/>
          <p:nvPr/>
        </p:nvGrpSpPr>
        <p:grpSpPr bwMode="gray">
          <a:xfrm>
            <a:off x="0" y="0"/>
            <a:ext cx="12192000" cy="6858000"/>
            <a:chOff x="5949952" y="0"/>
            <a:chExt cx="8924928" cy="6858000"/>
          </a:xfrm>
        </p:grpSpPr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51D96DC5-264D-4F98-8B9F-FEF747EDC747}"/>
                </a:ext>
              </a:extLst>
            </p:cNvPr>
            <p:cNvSpPr/>
            <p:nvPr userDrawn="1"/>
          </p:nvSpPr>
          <p:spPr bwMode="gray">
            <a:xfrm>
              <a:off x="5949952" y="0"/>
              <a:ext cx="1487488" cy="6858000"/>
            </a:xfrm>
            <a:prstGeom prst="rect">
              <a:avLst/>
            </a:pr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E33FDE03-4E40-458F-A6DA-F24ECF42F971}"/>
                </a:ext>
              </a:extLst>
            </p:cNvPr>
            <p:cNvSpPr/>
            <p:nvPr userDrawn="1"/>
          </p:nvSpPr>
          <p:spPr bwMode="gray">
            <a:xfrm>
              <a:off x="8924928" y="0"/>
              <a:ext cx="1487488" cy="6858000"/>
            </a:xfrm>
            <a:prstGeom prst="rect">
              <a:avLst/>
            </a:prstGeom>
            <a:solidFill>
              <a:schemeClr val="accent3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DC5EB745-0858-49CC-A0FE-29CBC776FA9E}"/>
                </a:ext>
              </a:extLst>
            </p:cNvPr>
            <p:cNvSpPr/>
            <p:nvPr userDrawn="1"/>
          </p:nvSpPr>
          <p:spPr bwMode="gray">
            <a:xfrm>
              <a:off x="7437440" y="0"/>
              <a:ext cx="1487488" cy="6858000"/>
            </a:xfrm>
            <a:prstGeom prst="rect">
              <a:avLst/>
            </a:prstGeom>
            <a:solidFill>
              <a:schemeClr val="accent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B3533DD8-1C73-4E77-A25E-8DB502C51672}"/>
                </a:ext>
              </a:extLst>
            </p:cNvPr>
            <p:cNvSpPr/>
            <p:nvPr userDrawn="1"/>
          </p:nvSpPr>
          <p:spPr bwMode="gray">
            <a:xfrm>
              <a:off x="10412416" y="0"/>
              <a:ext cx="1487488" cy="6858000"/>
            </a:xfrm>
            <a:prstGeom prst="rect">
              <a:avLst/>
            </a:prstGeom>
            <a:solidFill>
              <a:schemeClr val="accent4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D1547A31-ABF2-495E-9F4B-8DFBF25E488D}"/>
                </a:ext>
              </a:extLst>
            </p:cNvPr>
            <p:cNvSpPr/>
            <p:nvPr userDrawn="1"/>
          </p:nvSpPr>
          <p:spPr bwMode="gray">
            <a:xfrm>
              <a:off x="11899905" y="0"/>
              <a:ext cx="1487488" cy="6858000"/>
            </a:xfrm>
            <a:prstGeom prst="rect">
              <a:avLst/>
            </a:prstGeom>
            <a:solidFill>
              <a:schemeClr val="accent5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3EB218CB-88C3-468E-AF95-E8FE5922C203}"/>
                </a:ext>
              </a:extLst>
            </p:cNvPr>
            <p:cNvSpPr/>
            <p:nvPr userDrawn="1"/>
          </p:nvSpPr>
          <p:spPr bwMode="gray">
            <a:xfrm>
              <a:off x="13387392" y="0"/>
              <a:ext cx="1487488" cy="685800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31" name="Datumsplatzhalter 1">
            <a:extLst>
              <a:ext uri="{FF2B5EF4-FFF2-40B4-BE49-F238E27FC236}">
                <a16:creationId xmlns:a16="http://schemas.microsoft.com/office/drawing/2014/main" id="{1A4D56CF-0343-4911-9D23-19D20CB0D9A9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11160919" y="6491733"/>
            <a:ext cx="457993" cy="101671"/>
          </a:xfrm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r"/>
            <a:fld id="{55A20116-DDCF-45BB-A103-A8FDED2FE001}" type="datetime1">
              <a:rPr lang="de-DE" smtClean="0"/>
              <a:t>2022-01-13</a:t>
            </a:fld>
            <a:endParaRPr lang="de-DE"/>
          </a:p>
        </p:txBody>
      </p:sp>
      <p:sp>
        <p:nvSpPr>
          <p:cNvPr id="32" name="Fußzeilenplatzhalter 5">
            <a:extLst>
              <a:ext uri="{FF2B5EF4-FFF2-40B4-BE49-F238E27FC236}">
                <a16:creationId xmlns:a16="http://schemas.microsoft.com/office/drawing/2014/main" id="{521C6FE0-7BD8-4269-AF19-F3EF4843B3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8401051" y="6491733"/>
            <a:ext cx="2522534" cy="101671"/>
          </a:xfrm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33" name="Foliennummernplatzhalter 6">
            <a:extLst>
              <a:ext uri="{FF2B5EF4-FFF2-40B4-BE49-F238E27FC236}">
                <a16:creationId xmlns:a16="http://schemas.microsoft.com/office/drawing/2014/main" id="{ABB9D1A2-0A49-42C5-96D0-40A3E4DE8F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11725538" y="6491733"/>
            <a:ext cx="191824" cy="101671"/>
          </a:xfrm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72658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reihandform: Form 36">
            <a:extLst>
              <a:ext uri="{FF2B5EF4-FFF2-40B4-BE49-F238E27FC236}">
                <a16:creationId xmlns:a16="http://schemas.microsoft.com/office/drawing/2014/main" id="{5A4CE6BF-C665-428A-8A94-D74142A2F4B7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5555456 h 6858000"/>
              <a:gd name="connsiteX3" fmla="*/ 12034223 w 12192000"/>
              <a:gd name="connsiteY3" fmla="*/ 5555456 h 6858000"/>
              <a:gd name="connsiteX4" fmla="*/ 12034202 w 12192000"/>
              <a:gd name="connsiteY4" fmla="*/ 5555455 h 6858000"/>
              <a:gd name="connsiteX5" fmla="*/ 2241392 w 12192000"/>
              <a:gd name="connsiteY5" fmla="*/ 5555455 h 6858000"/>
              <a:gd name="connsiteX6" fmla="*/ 1321594 w 12192000"/>
              <a:gd name="connsiteY6" fmla="*/ 6475253 h 6858000"/>
              <a:gd name="connsiteX7" fmla="*/ 1321594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5555456"/>
                </a:lnTo>
                <a:lnTo>
                  <a:pt x="12034223" y="5555456"/>
                </a:lnTo>
                <a:lnTo>
                  <a:pt x="12034202" y="5555455"/>
                </a:lnTo>
                <a:lnTo>
                  <a:pt x="2241392" y="5555455"/>
                </a:lnTo>
                <a:cubicBezTo>
                  <a:pt x="1733402" y="5555455"/>
                  <a:pt x="1321594" y="5967263"/>
                  <a:pt x="1321594" y="6475253"/>
                </a:cubicBezTo>
                <a:lnTo>
                  <a:pt x="132159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944563"/>
            <a:ext cx="3095625" cy="647698"/>
          </a:xfrm>
        </p:spPr>
        <p:txBody>
          <a:bodyPr anchor="t"/>
          <a:lstStyle>
            <a:lvl1pPr>
              <a:defRPr sz="5400"/>
            </a:lvl1pPr>
            <a:lvl2pPr>
              <a:defRPr sz="5400"/>
            </a:lvl2pPr>
            <a:lvl3pPr>
              <a:defRPr sz="5400"/>
            </a:lvl3pPr>
            <a:lvl4pPr>
              <a:defRPr sz="5400"/>
            </a:lvl4pPr>
            <a:lvl5pPr>
              <a:defRPr sz="5400"/>
            </a:lvl5pPr>
            <a:lvl6pPr>
              <a:defRPr sz="5400"/>
            </a:lvl6pPr>
            <a:lvl7pPr>
              <a:defRPr sz="5400"/>
            </a:lvl7pPr>
            <a:lvl8pPr>
              <a:defRPr sz="5400"/>
            </a:lvl8pPr>
            <a:lvl9pPr>
              <a:defRPr sz="5400"/>
            </a:lvl9pPr>
          </a:lstStyle>
          <a:p>
            <a:pPr lvl="0"/>
            <a:r>
              <a:rPr lang="de-DE"/>
              <a:t>Agenda</a:t>
            </a: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5633BB16-81E2-41BA-8DB1-CB4727975DC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83113" y="1592261"/>
            <a:ext cx="3817937" cy="3673475"/>
          </a:xfrm>
        </p:spPr>
        <p:txBody>
          <a:bodyPr/>
          <a:lstStyle>
            <a:lvl1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Ers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Zwei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Drit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Vier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Fünfte Ebene für Aufzählungen</a:t>
            </a:r>
          </a:p>
          <a:p>
            <a:pPr lvl="0"/>
            <a:r>
              <a:rPr lang="de-DE"/>
              <a:t>Sechste Ebene für Highlights</a:t>
            </a:r>
          </a:p>
        </p:txBody>
      </p:sp>
      <p:sp>
        <p:nvSpPr>
          <p:cNvPr id="19" name="Freihandform: Form 18">
            <a:extLst>
              <a:ext uri="{FF2B5EF4-FFF2-40B4-BE49-F238E27FC236}">
                <a16:creationId xmlns:a16="http://schemas.microsoft.com/office/drawing/2014/main" id="{11506FDE-2E24-408A-9A98-EF162BACC1A3}"/>
              </a:ext>
            </a:extLst>
          </p:cNvPr>
          <p:cNvSpPr/>
          <p:nvPr/>
        </p:nvSpPr>
        <p:spPr>
          <a:xfrm flipH="1">
            <a:off x="1498068" y="5376330"/>
            <a:ext cx="10704512" cy="1492250"/>
          </a:xfrm>
          <a:custGeom>
            <a:avLst/>
            <a:gdLst>
              <a:gd name="connsiteX0" fmla="*/ 9783757 w 10704512"/>
              <a:gd name="connsiteY0" fmla="*/ 0 h 1492250"/>
              <a:gd name="connsiteX1" fmla="*/ 0 w 10704512"/>
              <a:gd name="connsiteY1" fmla="*/ 0 h 1492250"/>
              <a:gd name="connsiteX2" fmla="*/ 0 w 10704512"/>
              <a:gd name="connsiteY2" fmla="*/ 1492250 h 1492250"/>
              <a:gd name="connsiteX3" fmla="*/ 10704512 w 10704512"/>
              <a:gd name="connsiteY3" fmla="*/ 1492250 h 1492250"/>
              <a:gd name="connsiteX4" fmla="*/ 10704512 w 10704512"/>
              <a:gd name="connsiteY4" fmla="*/ 920755 h 1492250"/>
              <a:gd name="connsiteX5" fmla="*/ 9783757 w 10704512"/>
              <a:gd name="connsiteY5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704512" h="1492250">
                <a:moveTo>
                  <a:pt x="9783757" y="0"/>
                </a:moveTo>
                <a:lnTo>
                  <a:pt x="0" y="0"/>
                </a:lnTo>
                <a:lnTo>
                  <a:pt x="0" y="1492250"/>
                </a:lnTo>
                <a:lnTo>
                  <a:pt x="10704512" y="1492250"/>
                </a:lnTo>
                <a:lnTo>
                  <a:pt x="10704512" y="920755"/>
                </a:lnTo>
                <a:cubicBezTo>
                  <a:pt x="10704512" y="412236"/>
                  <a:pt x="10292276" y="0"/>
                  <a:pt x="9783757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254916B7-58EF-4F08-A783-46F18118B6C0}"/>
              </a:ext>
            </a:extLst>
          </p:cNvPr>
          <p:cNvGrpSpPr/>
          <p:nvPr/>
        </p:nvGrpSpPr>
        <p:grpSpPr>
          <a:xfrm>
            <a:off x="10990764" y="364362"/>
            <a:ext cx="867864" cy="231551"/>
            <a:chOff x="464743" y="1368699"/>
            <a:chExt cx="2380058" cy="635012"/>
          </a:xfrm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9DF83FF6-AFE6-4555-90DE-0D3C163DA0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7AE21AAB-E07B-47DA-AFD0-DEAA3D275A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A56AB8B5-4588-48C1-9C07-75640E26512E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A71BD18E-6C07-411A-9495-8446904F72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8">
                <a:extLst>
                  <a:ext uri="{FF2B5EF4-FFF2-40B4-BE49-F238E27FC236}">
                    <a16:creationId xmlns:a16="http://schemas.microsoft.com/office/drawing/2014/main" id="{26CCEDD4-2516-4002-A7DC-A59BA62F373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9">
                <a:extLst>
                  <a:ext uri="{FF2B5EF4-FFF2-40B4-BE49-F238E27FC236}">
                    <a16:creationId xmlns:a16="http://schemas.microsoft.com/office/drawing/2014/main" id="{DF3B131D-3C13-42E0-9206-E171CCF5B5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0">
                <a:extLst>
                  <a:ext uri="{FF2B5EF4-FFF2-40B4-BE49-F238E27FC236}">
                    <a16:creationId xmlns:a16="http://schemas.microsoft.com/office/drawing/2014/main" id="{CC1A6517-C355-46B0-AAC1-F23094D15D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1">
                <a:extLst>
                  <a:ext uri="{FF2B5EF4-FFF2-40B4-BE49-F238E27FC236}">
                    <a16:creationId xmlns:a16="http://schemas.microsoft.com/office/drawing/2014/main" id="{2D282B2E-2815-47F9-A08C-655F14185C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2">
                <a:extLst>
                  <a:ext uri="{FF2B5EF4-FFF2-40B4-BE49-F238E27FC236}">
                    <a16:creationId xmlns:a16="http://schemas.microsoft.com/office/drawing/2014/main" id="{8966AAB2-499D-4B16-B74F-A313AB8B943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3">
                <a:extLst>
                  <a:ext uri="{FF2B5EF4-FFF2-40B4-BE49-F238E27FC236}">
                    <a16:creationId xmlns:a16="http://schemas.microsoft.com/office/drawing/2014/main" id="{72DAECD8-27D3-4109-A6A0-3CDDC159E5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4">
                <a:extLst>
                  <a:ext uri="{FF2B5EF4-FFF2-40B4-BE49-F238E27FC236}">
                    <a16:creationId xmlns:a16="http://schemas.microsoft.com/office/drawing/2014/main" id="{34080E8D-32B8-4A2B-9398-55858DAB3A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15">
                <a:extLst>
                  <a:ext uri="{FF2B5EF4-FFF2-40B4-BE49-F238E27FC236}">
                    <a16:creationId xmlns:a16="http://schemas.microsoft.com/office/drawing/2014/main" id="{F492BF34-88EE-4DF9-A3FA-1D74A54071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6">
                <a:extLst>
                  <a:ext uri="{FF2B5EF4-FFF2-40B4-BE49-F238E27FC236}">
                    <a16:creationId xmlns:a16="http://schemas.microsoft.com/office/drawing/2014/main" id="{29342A22-C6BD-4A9B-BA64-C9BB74D818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E39C62E-E45B-4DB0-8BDC-ADF35A7DD17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B86EF928-780C-409D-9613-BA5C68E50F53}" type="datetime1">
              <a:rPr lang="de-DE" smtClean="0"/>
              <a:t>2022-01-1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2BDBB57-71E2-4418-B351-9C4643F67D8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8D621D8-7D75-456C-87F6-66D9307AC69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96518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Freihandform: Form 33">
            <a:extLst>
              <a:ext uri="{FF2B5EF4-FFF2-40B4-BE49-F238E27FC236}">
                <a16:creationId xmlns:a16="http://schemas.microsoft.com/office/drawing/2014/main" id="{7A88C1D1-625C-4F4E-BECD-5CB70DEB7CC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191998 w 12192000"/>
              <a:gd name="connsiteY3" fmla="*/ 6858000 h 6858000"/>
              <a:gd name="connsiteX4" fmla="*/ 12191998 w 12192000"/>
              <a:gd name="connsiteY4" fmla="*/ 3429000 h 6858000"/>
              <a:gd name="connsiteX5" fmla="*/ 8518560 w 12192000"/>
              <a:gd name="connsiteY5" fmla="*/ 3429000 h 6858000"/>
              <a:gd name="connsiteX6" fmla="*/ 7608881 w 12192000"/>
              <a:gd name="connsiteY6" fmla="*/ 4338679 h 6858000"/>
              <a:gd name="connsiteX7" fmla="*/ 7608881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91998" y="6858000"/>
                </a:lnTo>
                <a:lnTo>
                  <a:pt x="12191998" y="3429000"/>
                </a:lnTo>
                <a:lnTo>
                  <a:pt x="8518560" y="3429000"/>
                </a:lnTo>
                <a:cubicBezTo>
                  <a:pt x="8016158" y="3429000"/>
                  <a:pt x="7608881" y="3836277"/>
                  <a:pt x="7608881" y="4338679"/>
                </a:cubicBezTo>
                <a:lnTo>
                  <a:pt x="760888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226" y="2825750"/>
            <a:ext cx="6337300" cy="1216025"/>
          </a:xfrm>
        </p:spPr>
        <p:txBody>
          <a:bodyPr anchor="t"/>
          <a:lstStyle>
            <a:lvl1pPr>
              <a:lnSpc>
                <a:spcPct val="80000"/>
              </a:lnSpc>
              <a:defRPr sz="5400"/>
            </a:lvl1pPr>
            <a:lvl2pPr>
              <a:lnSpc>
                <a:spcPct val="80000"/>
              </a:lnSpc>
              <a:defRPr sz="5400"/>
            </a:lvl2pPr>
            <a:lvl3pPr>
              <a:lnSpc>
                <a:spcPct val="80000"/>
              </a:lnSpc>
              <a:defRPr sz="5400"/>
            </a:lvl3pPr>
            <a:lvl4pPr>
              <a:lnSpc>
                <a:spcPct val="80000"/>
              </a:lnSpc>
              <a:defRPr sz="5400"/>
            </a:lvl4pPr>
            <a:lvl5pPr>
              <a:lnSpc>
                <a:spcPct val="80000"/>
              </a:lnSpc>
              <a:defRPr sz="5400"/>
            </a:lvl5pPr>
            <a:lvl6pPr>
              <a:lnSpc>
                <a:spcPct val="80000"/>
              </a:lnSpc>
              <a:defRPr sz="5400"/>
            </a:lvl6pPr>
            <a:lvl7pPr>
              <a:lnSpc>
                <a:spcPct val="80000"/>
              </a:lnSpc>
              <a:defRPr sz="5400"/>
            </a:lvl7pPr>
            <a:lvl8pPr>
              <a:lnSpc>
                <a:spcPct val="80000"/>
              </a:lnSpc>
              <a:defRPr sz="5400"/>
            </a:lvl8pPr>
            <a:lvl9pPr>
              <a:lnSpc>
                <a:spcPct val="80000"/>
              </a:lnSpc>
              <a:defRPr sz="5400"/>
            </a:lvl9pPr>
          </a:lstStyle>
          <a:p>
            <a:pPr lvl="0"/>
            <a:r>
              <a:rPr lang="de-DE"/>
              <a:t>Präsentationstitel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16C1E5B9-FEB6-4AA6-BD6B-F927D33B7586}"/>
              </a:ext>
            </a:extLst>
          </p:cNvPr>
          <p:cNvGrpSpPr/>
          <p:nvPr userDrawn="1"/>
        </p:nvGrpSpPr>
        <p:grpSpPr>
          <a:xfrm>
            <a:off x="911225" y="1319215"/>
            <a:ext cx="1439910" cy="384176"/>
            <a:chOff x="464743" y="1368699"/>
            <a:chExt cx="2380058" cy="635012"/>
          </a:xfrm>
        </p:grpSpPr>
        <p:sp>
          <p:nvSpPr>
            <p:cNvPr id="13" name="Oval 5">
              <a:extLst>
                <a:ext uri="{FF2B5EF4-FFF2-40B4-BE49-F238E27FC236}">
                  <a16:creationId xmlns:a16="http://schemas.microsoft.com/office/drawing/2014/main" id="{A63FDF46-9240-4989-8BD0-C8E6ACCDA8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BCEEBEBB-AF39-4FA0-BF2A-C2F67F3089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706779D2-753C-408C-8D8F-2EA69C718621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16" name="Freeform 7">
                <a:extLst>
                  <a:ext uri="{FF2B5EF4-FFF2-40B4-BE49-F238E27FC236}">
                    <a16:creationId xmlns:a16="http://schemas.microsoft.com/office/drawing/2014/main" id="{80064577-26DD-4C45-9CA7-CA84B29940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8">
                <a:extLst>
                  <a:ext uri="{FF2B5EF4-FFF2-40B4-BE49-F238E27FC236}">
                    <a16:creationId xmlns:a16="http://schemas.microsoft.com/office/drawing/2014/main" id="{9D448FEE-A734-446E-B740-78A968A27C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9">
                <a:extLst>
                  <a:ext uri="{FF2B5EF4-FFF2-40B4-BE49-F238E27FC236}">
                    <a16:creationId xmlns:a16="http://schemas.microsoft.com/office/drawing/2014/main" id="{888D8F5D-79D7-4B65-A82D-00FF784BBD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0">
                <a:extLst>
                  <a:ext uri="{FF2B5EF4-FFF2-40B4-BE49-F238E27FC236}">
                    <a16:creationId xmlns:a16="http://schemas.microsoft.com/office/drawing/2014/main" id="{C200D8BD-ED64-4635-B9AE-FBB6DE7A03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1">
                <a:extLst>
                  <a:ext uri="{FF2B5EF4-FFF2-40B4-BE49-F238E27FC236}">
                    <a16:creationId xmlns:a16="http://schemas.microsoft.com/office/drawing/2014/main" id="{4AF606B8-E6F5-4239-AF0E-C3B1CB66F7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2">
                <a:extLst>
                  <a:ext uri="{FF2B5EF4-FFF2-40B4-BE49-F238E27FC236}">
                    <a16:creationId xmlns:a16="http://schemas.microsoft.com/office/drawing/2014/main" id="{4FA34997-3170-4E22-BE0E-39B040570F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3">
                <a:extLst>
                  <a:ext uri="{FF2B5EF4-FFF2-40B4-BE49-F238E27FC236}">
                    <a16:creationId xmlns:a16="http://schemas.microsoft.com/office/drawing/2014/main" id="{E0899F0A-43C2-4A2B-BB23-92FD4E59A0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4">
                <a:extLst>
                  <a:ext uri="{FF2B5EF4-FFF2-40B4-BE49-F238E27FC236}">
                    <a16:creationId xmlns:a16="http://schemas.microsoft.com/office/drawing/2014/main" id="{002B1808-6EF8-43A6-98A3-F218A91060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5">
                <a:extLst>
                  <a:ext uri="{FF2B5EF4-FFF2-40B4-BE49-F238E27FC236}">
                    <a16:creationId xmlns:a16="http://schemas.microsoft.com/office/drawing/2014/main" id="{E469321C-D642-4F96-AE63-CD87201D47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6">
                <a:extLst>
                  <a:ext uri="{FF2B5EF4-FFF2-40B4-BE49-F238E27FC236}">
                    <a16:creationId xmlns:a16="http://schemas.microsoft.com/office/drawing/2014/main" id="{4D226FE2-5036-43B8-8F8D-521582CD79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Textplatzhalter 9">
            <a:extLst>
              <a:ext uri="{FF2B5EF4-FFF2-40B4-BE49-F238E27FC236}">
                <a16:creationId xmlns:a16="http://schemas.microsoft.com/office/drawing/2014/main" id="{A3575644-C415-4736-A0BA-E98385D01B2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85404" y="4483700"/>
            <a:ext cx="4963111" cy="216000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Name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3481B9A9-736B-4492-98F4-CFFBBB93D83D}"/>
              </a:ext>
            </a:extLst>
          </p:cNvPr>
          <p:cNvCxnSpPr>
            <a:cxnSpLocks/>
          </p:cNvCxnSpPr>
          <p:nvPr userDrawn="1"/>
        </p:nvCxnSpPr>
        <p:spPr>
          <a:xfrm>
            <a:off x="2053928" y="4483700"/>
            <a:ext cx="0" cy="17938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hteck: eine Ecke abgerundet 4">
            <a:extLst>
              <a:ext uri="{FF2B5EF4-FFF2-40B4-BE49-F238E27FC236}">
                <a16:creationId xmlns:a16="http://schemas.microsoft.com/office/drawing/2014/main" id="{0BA872EC-5B2E-4929-AD92-88DAB6266A9E}"/>
              </a:ext>
            </a:extLst>
          </p:cNvPr>
          <p:cNvSpPr/>
          <p:nvPr userDrawn="1"/>
        </p:nvSpPr>
        <p:spPr>
          <a:xfrm flipH="1">
            <a:off x="7859179" y="3253843"/>
            <a:ext cx="4343397" cy="3614737"/>
          </a:xfrm>
          <a:prstGeom prst="round1Rect">
            <a:avLst>
              <a:gd name="adj" fmla="val 2652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B75EBC14-2DC1-4EDF-B828-6BD98E3DDCBA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917583" y="4483700"/>
            <a:ext cx="904868" cy="216000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smtClean="0"/>
            </a:lvl1pPr>
          </a:lstStyle>
          <a:p>
            <a:pPr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fld id="{D8026D0E-7425-49C8-B969-408F06F2762B}" type="datetime1">
              <a:rPr lang="de-DE" smtClean="0"/>
              <a:t>2022-01-13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2B6A11DD-5E08-4096-BA7B-A2496C1019C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de-DE"/>
              <a:t>Risk Report 2021 M03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2926201B-F022-402F-AD21-442CBEA104D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17580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5A0E8ACE-F208-4580-9945-A7005B3E229F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34DB811-0D8A-421A-9CDD-47BCA68CAF03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911225" y="6310313"/>
            <a:ext cx="1114412" cy="216000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smtClean="0"/>
            </a:lvl1pPr>
          </a:lstStyle>
          <a:p>
            <a:pPr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fld id="{4E2055A9-604C-4918-BCC8-8EA0954D736D}" type="datetime1">
              <a:rPr lang="de-DE" smtClean="0"/>
              <a:t>2022-01-13</a:t>
            </a:fld>
            <a:endParaRPr lang="de-DE"/>
          </a:p>
        </p:txBody>
      </p:sp>
      <p:sp>
        <p:nvSpPr>
          <p:cNvPr id="26" name="Bildplatzhalter 25">
            <a:extLst>
              <a:ext uri="{FF2B5EF4-FFF2-40B4-BE49-F238E27FC236}">
                <a16:creationId xmlns:a16="http://schemas.microsoft.com/office/drawing/2014/main" id="{A00D384B-B3AA-4CCF-85B7-8EDB1E746B6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7248524 w 12192000"/>
              <a:gd name="connsiteY3" fmla="*/ 6858000 h 6858000"/>
              <a:gd name="connsiteX4" fmla="*/ 7248524 w 12192000"/>
              <a:gd name="connsiteY4" fmla="*/ 4602507 h 6858000"/>
              <a:gd name="connsiteX5" fmla="*/ 6075018 w 12192000"/>
              <a:gd name="connsiteY5" fmla="*/ 3429000 h 6858000"/>
              <a:gd name="connsiteX6" fmla="*/ 317438 w 12192000"/>
              <a:gd name="connsiteY6" fmla="*/ 3429000 h 6858000"/>
              <a:gd name="connsiteX7" fmla="*/ 6677 w 12192000"/>
              <a:gd name="connsiteY7" fmla="*/ 3429000 h 6858000"/>
              <a:gd name="connsiteX8" fmla="*/ 0 w 12192000"/>
              <a:gd name="connsiteY8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7248524" y="6858000"/>
                </a:lnTo>
                <a:lnTo>
                  <a:pt x="7248524" y="4602507"/>
                </a:lnTo>
                <a:cubicBezTo>
                  <a:pt x="7248524" y="3954397"/>
                  <a:pt x="6723127" y="3429000"/>
                  <a:pt x="6075018" y="3429000"/>
                </a:cubicBezTo>
                <a:lnTo>
                  <a:pt x="317438" y="3429000"/>
                </a:lnTo>
                <a:lnTo>
                  <a:pt x="6677" y="3429000"/>
                </a:lnTo>
                <a:lnTo>
                  <a:pt x="0" y="342900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225" y="4318000"/>
            <a:ext cx="5184775" cy="1673225"/>
          </a:xfrm>
        </p:spPr>
        <p:txBody>
          <a:bodyPr anchor="t"/>
          <a:lstStyle>
            <a:lvl1pPr>
              <a:lnSpc>
                <a:spcPct val="80000"/>
              </a:lnSpc>
              <a:defRPr sz="5400"/>
            </a:lvl1pPr>
            <a:lvl2pPr>
              <a:lnSpc>
                <a:spcPct val="80000"/>
              </a:lnSpc>
              <a:defRPr sz="5400"/>
            </a:lvl2pPr>
            <a:lvl3pPr>
              <a:lnSpc>
                <a:spcPct val="80000"/>
              </a:lnSpc>
              <a:defRPr sz="5400"/>
            </a:lvl3pPr>
            <a:lvl4pPr>
              <a:lnSpc>
                <a:spcPct val="80000"/>
              </a:lnSpc>
              <a:defRPr sz="5400"/>
            </a:lvl4pPr>
            <a:lvl5pPr>
              <a:lnSpc>
                <a:spcPct val="80000"/>
              </a:lnSpc>
              <a:defRPr sz="5400"/>
            </a:lvl5pPr>
            <a:lvl6pPr>
              <a:lnSpc>
                <a:spcPct val="80000"/>
              </a:lnSpc>
              <a:defRPr sz="5400"/>
            </a:lvl6pPr>
            <a:lvl7pPr>
              <a:lnSpc>
                <a:spcPct val="80000"/>
              </a:lnSpc>
              <a:defRPr sz="5400"/>
            </a:lvl7pPr>
            <a:lvl8pPr>
              <a:lnSpc>
                <a:spcPct val="80000"/>
              </a:lnSpc>
              <a:defRPr sz="5400"/>
            </a:lvl8pPr>
            <a:lvl9pPr>
              <a:lnSpc>
                <a:spcPct val="80000"/>
              </a:lnSpc>
              <a:defRPr sz="5400"/>
            </a:lvl9pPr>
          </a:lstStyle>
          <a:p>
            <a:pPr lvl="0"/>
            <a:r>
              <a:rPr lang="de-DE"/>
              <a:t>Präsentations-</a:t>
            </a:r>
            <a:br>
              <a:rPr lang="de-DE"/>
            </a:br>
            <a:r>
              <a:rPr lang="de-DE" err="1"/>
              <a:t>titel</a:t>
            </a:r>
            <a:endParaRPr lang="de-DE"/>
          </a:p>
        </p:txBody>
      </p:sp>
      <p:sp>
        <p:nvSpPr>
          <p:cNvPr id="30" name="Textplatzhalter 9">
            <a:extLst>
              <a:ext uri="{FF2B5EF4-FFF2-40B4-BE49-F238E27FC236}">
                <a16:creationId xmlns:a16="http://schemas.microsoft.com/office/drawing/2014/main" id="{A3575644-C415-4736-A0BA-E98385D01B2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79048" y="6310313"/>
            <a:ext cx="3816952" cy="216000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Sprecher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3481B9A9-736B-4492-98F4-CFFBBB93D83D}"/>
              </a:ext>
            </a:extLst>
          </p:cNvPr>
          <p:cNvCxnSpPr/>
          <p:nvPr userDrawn="1"/>
        </p:nvCxnSpPr>
        <p:spPr>
          <a:xfrm>
            <a:off x="2083772" y="6310313"/>
            <a:ext cx="0" cy="17938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437FBB7-9757-4A42-823D-017F0EC58B9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8401051" y="7075933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7483039-7586-475E-BC6A-3A8359872F8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725538" y="7075933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333B8CAC-45F5-4E4D-935E-DF0718CC56C1}"/>
              </a:ext>
            </a:extLst>
          </p:cNvPr>
          <p:cNvGrpSpPr/>
          <p:nvPr userDrawn="1"/>
        </p:nvGrpSpPr>
        <p:grpSpPr>
          <a:xfrm>
            <a:off x="911225" y="3830191"/>
            <a:ext cx="1011508" cy="269876"/>
            <a:chOff x="464743" y="1368699"/>
            <a:chExt cx="2380058" cy="635012"/>
          </a:xfrm>
        </p:grpSpPr>
        <p:sp>
          <p:nvSpPr>
            <p:cNvPr id="28" name="Oval 5">
              <a:extLst>
                <a:ext uri="{FF2B5EF4-FFF2-40B4-BE49-F238E27FC236}">
                  <a16:creationId xmlns:a16="http://schemas.microsoft.com/office/drawing/2014/main" id="{5E5F891E-CC26-4403-8404-7D6644CA7E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554A93CD-B3DD-496E-9C1A-EDC65590B8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85B403AC-0C92-4E86-A864-3B3CBE5FB8DB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33" name="Freeform 7">
                <a:extLst>
                  <a:ext uri="{FF2B5EF4-FFF2-40B4-BE49-F238E27FC236}">
                    <a16:creationId xmlns:a16="http://schemas.microsoft.com/office/drawing/2014/main" id="{7F986846-E3A3-4F2E-B92B-69C7EFDD3E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8">
                <a:extLst>
                  <a:ext uri="{FF2B5EF4-FFF2-40B4-BE49-F238E27FC236}">
                    <a16:creationId xmlns:a16="http://schemas.microsoft.com/office/drawing/2014/main" id="{B0CA22B6-A59B-4FC8-99DF-80E8C22E287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9">
                <a:extLst>
                  <a:ext uri="{FF2B5EF4-FFF2-40B4-BE49-F238E27FC236}">
                    <a16:creationId xmlns:a16="http://schemas.microsoft.com/office/drawing/2014/main" id="{F81E8CB3-330A-4E20-B9E5-A086419082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0">
                <a:extLst>
                  <a:ext uri="{FF2B5EF4-FFF2-40B4-BE49-F238E27FC236}">
                    <a16:creationId xmlns:a16="http://schemas.microsoft.com/office/drawing/2014/main" id="{C6BAA7EC-1978-4FCF-A7EC-D3AE80FEEC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1">
                <a:extLst>
                  <a:ext uri="{FF2B5EF4-FFF2-40B4-BE49-F238E27FC236}">
                    <a16:creationId xmlns:a16="http://schemas.microsoft.com/office/drawing/2014/main" id="{A135AE69-4A36-42E6-AF73-917943FC94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2">
                <a:extLst>
                  <a:ext uri="{FF2B5EF4-FFF2-40B4-BE49-F238E27FC236}">
                    <a16:creationId xmlns:a16="http://schemas.microsoft.com/office/drawing/2014/main" id="{C7CB8A78-7E6C-4275-8F55-0DCF03F2AA2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3">
                <a:extLst>
                  <a:ext uri="{FF2B5EF4-FFF2-40B4-BE49-F238E27FC236}">
                    <a16:creationId xmlns:a16="http://schemas.microsoft.com/office/drawing/2014/main" id="{A0010714-24B6-4962-BF7D-EA1BE34666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4">
                <a:extLst>
                  <a:ext uri="{FF2B5EF4-FFF2-40B4-BE49-F238E27FC236}">
                    <a16:creationId xmlns:a16="http://schemas.microsoft.com/office/drawing/2014/main" id="{641653C8-7FE3-4AE3-A3B3-D4EFD2B21A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5">
                <a:extLst>
                  <a:ext uri="{FF2B5EF4-FFF2-40B4-BE49-F238E27FC236}">
                    <a16:creationId xmlns:a16="http://schemas.microsoft.com/office/drawing/2014/main" id="{F7332743-42FB-4747-B8A5-A59829BE26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6">
                <a:extLst>
                  <a:ext uri="{FF2B5EF4-FFF2-40B4-BE49-F238E27FC236}">
                    <a16:creationId xmlns:a16="http://schemas.microsoft.com/office/drawing/2014/main" id="{08EDCD56-147F-4961-A599-66F4CA141F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58772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reihandform: Form 36">
            <a:extLst>
              <a:ext uri="{FF2B5EF4-FFF2-40B4-BE49-F238E27FC236}">
                <a16:creationId xmlns:a16="http://schemas.microsoft.com/office/drawing/2014/main" id="{5A4CE6BF-C665-428A-8A94-D74142A2F4B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5555456 h 6858000"/>
              <a:gd name="connsiteX3" fmla="*/ 12034223 w 12192000"/>
              <a:gd name="connsiteY3" fmla="*/ 5555456 h 6858000"/>
              <a:gd name="connsiteX4" fmla="*/ 12034202 w 12192000"/>
              <a:gd name="connsiteY4" fmla="*/ 5555455 h 6858000"/>
              <a:gd name="connsiteX5" fmla="*/ 2241392 w 12192000"/>
              <a:gd name="connsiteY5" fmla="*/ 5555455 h 6858000"/>
              <a:gd name="connsiteX6" fmla="*/ 1321594 w 12192000"/>
              <a:gd name="connsiteY6" fmla="*/ 6475253 h 6858000"/>
              <a:gd name="connsiteX7" fmla="*/ 1321594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5555456"/>
                </a:lnTo>
                <a:lnTo>
                  <a:pt x="12034223" y="5555456"/>
                </a:lnTo>
                <a:lnTo>
                  <a:pt x="12034202" y="5555455"/>
                </a:lnTo>
                <a:lnTo>
                  <a:pt x="2241392" y="5555455"/>
                </a:lnTo>
                <a:cubicBezTo>
                  <a:pt x="1733402" y="5555455"/>
                  <a:pt x="1321594" y="5967263"/>
                  <a:pt x="1321594" y="6475253"/>
                </a:cubicBezTo>
                <a:lnTo>
                  <a:pt x="132159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944563"/>
            <a:ext cx="3095625" cy="647698"/>
          </a:xfrm>
        </p:spPr>
        <p:txBody>
          <a:bodyPr anchor="t"/>
          <a:lstStyle>
            <a:lvl1pPr>
              <a:defRPr sz="5400"/>
            </a:lvl1pPr>
            <a:lvl2pPr>
              <a:defRPr sz="5400"/>
            </a:lvl2pPr>
            <a:lvl3pPr>
              <a:defRPr sz="5400"/>
            </a:lvl3pPr>
            <a:lvl4pPr>
              <a:defRPr sz="5400"/>
            </a:lvl4pPr>
            <a:lvl5pPr>
              <a:defRPr sz="5400"/>
            </a:lvl5pPr>
            <a:lvl6pPr>
              <a:defRPr sz="5400"/>
            </a:lvl6pPr>
            <a:lvl7pPr>
              <a:defRPr sz="5400"/>
            </a:lvl7pPr>
            <a:lvl8pPr>
              <a:defRPr sz="5400"/>
            </a:lvl8pPr>
            <a:lvl9pPr>
              <a:defRPr sz="5400"/>
            </a:lvl9pPr>
          </a:lstStyle>
          <a:p>
            <a:pPr lvl="0"/>
            <a:r>
              <a:rPr lang="de-DE"/>
              <a:t>Agenda</a:t>
            </a: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5633BB16-81E2-41BA-8DB1-CB4727975DC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83113" y="1592261"/>
            <a:ext cx="3817937" cy="3673475"/>
          </a:xfrm>
        </p:spPr>
        <p:txBody>
          <a:bodyPr/>
          <a:lstStyle>
            <a:lvl1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Ers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Zwei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Drit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Vier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Fünfte Ebene für Aufzählungen</a:t>
            </a:r>
          </a:p>
          <a:p>
            <a:pPr lvl="0"/>
            <a:r>
              <a:rPr lang="de-DE"/>
              <a:t>Sechste Ebene für Highlights</a:t>
            </a:r>
          </a:p>
        </p:txBody>
      </p:sp>
      <p:sp>
        <p:nvSpPr>
          <p:cNvPr id="19" name="Freihandform: Form 18">
            <a:extLst>
              <a:ext uri="{FF2B5EF4-FFF2-40B4-BE49-F238E27FC236}">
                <a16:creationId xmlns:a16="http://schemas.microsoft.com/office/drawing/2014/main" id="{11506FDE-2E24-408A-9A98-EF162BACC1A3}"/>
              </a:ext>
            </a:extLst>
          </p:cNvPr>
          <p:cNvSpPr/>
          <p:nvPr userDrawn="1"/>
        </p:nvSpPr>
        <p:spPr>
          <a:xfrm flipH="1">
            <a:off x="1498068" y="5376330"/>
            <a:ext cx="10704512" cy="1492250"/>
          </a:xfrm>
          <a:custGeom>
            <a:avLst/>
            <a:gdLst>
              <a:gd name="connsiteX0" fmla="*/ 9783757 w 10704512"/>
              <a:gd name="connsiteY0" fmla="*/ 0 h 1492250"/>
              <a:gd name="connsiteX1" fmla="*/ 0 w 10704512"/>
              <a:gd name="connsiteY1" fmla="*/ 0 h 1492250"/>
              <a:gd name="connsiteX2" fmla="*/ 0 w 10704512"/>
              <a:gd name="connsiteY2" fmla="*/ 1492250 h 1492250"/>
              <a:gd name="connsiteX3" fmla="*/ 10704512 w 10704512"/>
              <a:gd name="connsiteY3" fmla="*/ 1492250 h 1492250"/>
              <a:gd name="connsiteX4" fmla="*/ 10704512 w 10704512"/>
              <a:gd name="connsiteY4" fmla="*/ 920755 h 1492250"/>
              <a:gd name="connsiteX5" fmla="*/ 9783757 w 10704512"/>
              <a:gd name="connsiteY5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704512" h="1492250">
                <a:moveTo>
                  <a:pt x="9783757" y="0"/>
                </a:moveTo>
                <a:lnTo>
                  <a:pt x="0" y="0"/>
                </a:lnTo>
                <a:lnTo>
                  <a:pt x="0" y="1492250"/>
                </a:lnTo>
                <a:lnTo>
                  <a:pt x="10704512" y="1492250"/>
                </a:lnTo>
                <a:lnTo>
                  <a:pt x="10704512" y="920755"/>
                </a:lnTo>
                <a:cubicBezTo>
                  <a:pt x="10704512" y="412236"/>
                  <a:pt x="10292276" y="0"/>
                  <a:pt x="9783757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254916B7-58EF-4F08-A783-46F18118B6C0}"/>
              </a:ext>
            </a:extLst>
          </p:cNvPr>
          <p:cNvGrpSpPr/>
          <p:nvPr userDrawn="1"/>
        </p:nvGrpSpPr>
        <p:grpSpPr>
          <a:xfrm>
            <a:off x="10990764" y="364362"/>
            <a:ext cx="867864" cy="231551"/>
            <a:chOff x="464743" y="1368699"/>
            <a:chExt cx="2380058" cy="635012"/>
          </a:xfrm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9DF83FF6-AFE6-4555-90DE-0D3C163DA0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7AE21AAB-E07B-47DA-AFD0-DEAA3D275A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A56AB8B5-4588-48C1-9C07-75640E26512E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A71BD18E-6C07-411A-9495-8446904F72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8">
                <a:extLst>
                  <a:ext uri="{FF2B5EF4-FFF2-40B4-BE49-F238E27FC236}">
                    <a16:creationId xmlns:a16="http://schemas.microsoft.com/office/drawing/2014/main" id="{26CCEDD4-2516-4002-A7DC-A59BA62F373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9">
                <a:extLst>
                  <a:ext uri="{FF2B5EF4-FFF2-40B4-BE49-F238E27FC236}">
                    <a16:creationId xmlns:a16="http://schemas.microsoft.com/office/drawing/2014/main" id="{DF3B131D-3C13-42E0-9206-E171CCF5B5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0">
                <a:extLst>
                  <a:ext uri="{FF2B5EF4-FFF2-40B4-BE49-F238E27FC236}">
                    <a16:creationId xmlns:a16="http://schemas.microsoft.com/office/drawing/2014/main" id="{CC1A6517-C355-46B0-AAC1-F23094D15D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1">
                <a:extLst>
                  <a:ext uri="{FF2B5EF4-FFF2-40B4-BE49-F238E27FC236}">
                    <a16:creationId xmlns:a16="http://schemas.microsoft.com/office/drawing/2014/main" id="{2D282B2E-2815-47F9-A08C-655F14185C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2">
                <a:extLst>
                  <a:ext uri="{FF2B5EF4-FFF2-40B4-BE49-F238E27FC236}">
                    <a16:creationId xmlns:a16="http://schemas.microsoft.com/office/drawing/2014/main" id="{8966AAB2-499D-4B16-B74F-A313AB8B943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3">
                <a:extLst>
                  <a:ext uri="{FF2B5EF4-FFF2-40B4-BE49-F238E27FC236}">
                    <a16:creationId xmlns:a16="http://schemas.microsoft.com/office/drawing/2014/main" id="{72DAECD8-27D3-4109-A6A0-3CDDC159E5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4">
                <a:extLst>
                  <a:ext uri="{FF2B5EF4-FFF2-40B4-BE49-F238E27FC236}">
                    <a16:creationId xmlns:a16="http://schemas.microsoft.com/office/drawing/2014/main" id="{34080E8D-32B8-4A2B-9398-55858DAB3A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15">
                <a:extLst>
                  <a:ext uri="{FF2B5EF4-FFF2-40B4-BE49-F238E27FC236}">
                    <a16:creationId xmlns:a16="http://schemas.microsoft.com/office/drawing/2014/main" id="{F492BF34-88EE-4DF9-A3FA-1D74A54071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6">
                <a:extLst>
                  <a:ext uri="{FF2B5EF4-FFF2-40B4-BE49-F238E27FC236}">
                    <a16:creationId xmlns:a16="http://schemas.microsoft.com/office/drawing/2014/main" id="{29342A22-C6BD-4A9B-BA64-C9BB74D818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E39C62E-E45B-4DB0-8BDC-ADF35A7DD17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2A1697DA-9FC6-4FFD-BD3B-8177E92BF818}" type="datetime1">
              <a:rPr lang="de-DE" smtClean="0"/>
              <a:t>2022-01-1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2BDBB57-71E2-4418-B351-9C4643F67D8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8D621D8-7D75-456C-87F6-66D9307AC69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56297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folie 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C9247478-3193-499B-A283-D437B7BC3F3A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4D8CB3D5-AD9B-4718-8C64-DC98EE6DE01B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-1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4287 w 12192000"/>
              <a:gd name="connsiteY1" fmla="*/ 0 h 6858000"/>
              <a:gd name="connsiteX2" fmla="*/ 731500 w 12192000"/>
              <a:gd name="connsiteY2" fmla="*/ 0 h 6858000"/>
              <a:gd name="connsiteX3" fmla="*/ 12192000 w 12192000"/>
              <a:gd name="connsiteY3" fmla="*/ 0 h 6858000"/>
              <a:gd name="connsiteX4" fmla="*/ 12192000 w 12192000"/>
              <a:gd name="connsiteY4" fmla="*/ 6858000 h 6858000"/>
              <a:gd name="connsiteX5" fmla="*/ 6096000 w 12192000"/>
              <a:gd name="connsiteY5" fmla="*/ 6858000 h 6858000"/>
              <a:gd name="connsiteX6" fmla="*/ 6096000 w 12192000"/>
              <a:gd name="connsiteY6" fmla="*/ 1629422 h 6858000"/>
              <a:gd name="connsiteX7" fmla="*/ 5088684 w 12192000"/>
              <a:gd name="connsiteY7" fmla="*/ 622106 h 6858000"/>
              <a:gd name="connsiteX8" fmla="*/ 731500 w 12192000"/>
              <a:gd name="connsiteY8" fmla="*/ 622106 h 6858000"/>
              <a:gd name="connsiteX9" fmla="*/ 14287 w 12192000"/>
              <a:gd name="connsiteY9" fmla="*/ 622106 h 6858000"/>
              <a:gd name="connsiteX10" fmla="*/ 0 w 12192000"/>
              <a:gd name="connsiteY10" fmla="*/ 62210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4287" y="0"/>
                </a:lnTo>
                <a:lnTo>
                  <a:pt x="731500" y="0"/>
                </a:lnTo>
                <a:lnTo>
                  <a:pt x="12192000" y="0"/>
                </a:lnTo>
                <a:lnTo>
                  <a:pt x="12192000" y="6858000"/>
                </a:lnTo>
                <a:lnTo>
                  <a:pt x="6096000" y="6858000"/>
                </a:lnTo>
                <a:lnTo>
                  <a:pt x="6096000" y="1629422"/>
                </a:lnTo>
                <a:cubicBezTo>
                  <a:pt x="6096000" y="1073097"/>
                  <a:pt x="5645009" y="622106"/>
                  <a:pt x="5088684" y="622106"/>
                </a:cubicBezTo>
                <a:lnTo>
                  <a:pt x="731500" y="622106"/>
                </a:lnTo>
                <a:lnTo>
                  <a:pt x="14287" y="622106"/>
                </a:lnTo>
                <a:lnTo>
                  <a:pt x="0" y="622106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lIns="1800000" tIns="0" bIns="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1592263"/>
            <a:ext cx="3455987" cy="1223962"/>
          </a:xfrm>
        </p:spPr>
        <p:txBody>
          <a:bodyPr anchor="t"/>
          <a:lstStyle>
            <a:lvl1pPr>
              <a:defRPr sz="5400"/>
            </a:lvl1pPr>
            <a:lvl2pPr>
              <a:defRPr sz="5400"/>
            </a:lvl2pPr>
            <a:lvl3pPr>
              <a:defRPr sz="5400"/>
            </a:lvl3pPr>
            <a:lvl4pPr>
              <a:defRPr sz="5400"/>
            </a:lvl4pPr>
            <a:lvl5pPr>
              <a:defRPr sz="5400"/>
            </a:lvl5pPr>
            <a:lvl6pPr>
              <a:defRPr sz="5400"/>
            </a:lvl6pPr>
            <a:lvl7pPr>
              <a:defRPr sz="5400"/>
            </a:lvl7pPr>
            <a:lvl8pPr>
              <a:defRPr sz="5400"/>
            </a:lvl8pPr>
            <a:lvl9pPr>
              <a:defRPr sz="5400"/>
            </a:lvl9pPr>
          </a:lstStyle>
          <a:p>
            <a:pPr lvl="0"/>
            <a:r>
              <a:rPr lang="de-DE"/>
              <a:t>Agenda</a:t>
            </a:r>
          </a:p>
        </p:txBody>
      </p:sp>
      <p:sp>
        <p:nvSpPr>
          <p:cNvPr id="8" name="Textplatzhalter 9">
            <a:extLst>
              <a:ext uri="{FF2B5EF4-FFF2-40B4-BE49-F238E27FC236}">
                <a16:creationId xmlns:a16="http://schemas.microsoft.com/office/drawing/2014/main" id="{85F76B8B-1FC5-4521-AD1F-6A3F92AE390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487488" y="2816225"/>
            <a:ext cx="3455987" cy="3673475"/>
          </a:xfrm>
        </p:spPr>
        <p:txBody>
          <a:bodyPr/>
          <a:lstStyle>
            <a:lvl1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Ers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Zwei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Drit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Vier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Fünfte Ebene für Aufzählungen</a:t>
            </a:r>
          </a:p>
          <a:p>
            <a:pPr lvl="0"/>
            <a:r>
              <a:rPr lang="de-DE"/>
              <a:t>Sechste Ebene für Highlights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C54598E-FC50-496C-9931-8DA549B04D5D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1160919" y="7101333"/>
            <a:ext cx="457993" cy="101671"/>
          </a:xfrm>
        </p:spPr>
        <p:txBody>
          <a:bodyPr/>
          <a:lstStyle/>
          <a:p>
            <a:pPr algn="r"/>
            <a:fld id="{F9AF2F80-09FE-4C39-9C8B-FFA22A780FB1}" type="datetime1">
              <a:rPr lang="de-DE" smtClean="0"/>
              <a:t>2022-01-1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F3E8894-DCFC-4586-95EE-4E7F5B69739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8401051" y="7101333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A36E9F1-F3BA-4241-A2AA-E1B75550C16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725538" y="7101333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4" name="Textplatzhalter 117">
            <a:extLst>
              <a:ext uri="{FF2B5EF4-FFF2-40B4-BE49-F238E27FC236}">
                <a16:creationId xmlns:a16="http://schemas.microsoft.com/office/drawing/2014/main" id="{27728EDC-9F95-41EC-A4B7-522A95BE7C0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78517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ihandform: Form 13">
            <a:extLst>
              <a:ext uri="{FF2B5EF4-FFF2-40B4-BE49-F238E27FC236}">
                <a16:creationId xmlns:a16="http://schemas.microsoft.com/office/drawing/2014/main" id="{072AF896-135A-4A96-A537-178BCF5D84F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0704513 w 12192000"/>
              <a:gd name="connsiteY3" fmla="*/ 6858000 h 6858000"/>
              <a:gd name="connsiteX4" fmla="*/ 10704513 w 12192000"/>
              <a:gd name="connsiteY4" fmla="*/ 2789980 h 6858000"/>
              <a:gd name="connsiteX5" fmla="*/ 9735713 w 12192000"/>
              <a:gd name="connsiteY5" fmla="*/ 1821180 h 6858000"/>
              <a:gd name="connsiteX6" fmla="*/ 0 w 12192000"/>
              <a:gd name="connsiteY6" fmla="*/ 182118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0704513" y="6858000"/>
                </a:lnTo>
                <a:lnTo>
                  <a:pt x="10704513" y="2789980"/>
                </a:lnTo>
                <a:cubicBezTo>
                  <a:pt x="10704513" y="2254927"/>
                  <a:pt x="10270766" y="1821180"/>
                  <a:pt x="9735713" y="1821180"/>
                </a:cubicBezTo>
                <a:lnTo>
                  <a:pt x="0" y="182118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7" y="3429000"/>
            <a:ext cx="6121401" cy="1836738"/>
          </a:xfr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  <a:lvl2pPr>
              <a:defRPr sz="4000">
                <a:solidFill>
                  <a:schemeClr val="bg1"/>
                </a:solidFill>
              </a:defRPr>
            </a:lvl2pPr>
            <a:lvl3pPr>
              <a:defRPr sz="4000">
                <a:solidFill>
                  <a:schemeClr val="bg1"/>
                </a:solidFill>
              </a:defRPr>
            </a:lvl3pPr>
            <a:lvl4pPr>
              <a:defRPr sz="4000">
                <a:solidFill>
                  <a:schemeClr val="bg1"/>
                </a:solidFill>
              </a:defRPr>
            </a:lvl4pPr>
            <a:lvl5pPr>
              <a:defRPr sz="4000">
                <a:solidFill>
                  <a:schemeClr val="bg1"/>
                </a:solidFill>
              </a:defRPr>
            </a:lvl5pPr>
            <a:lvl6pPr>
              <a:defRPr sz="4000">
                <a:solidFill>
                  <a:schemeClr val="bg1"/>
                </a:solidFill>
              </a:defRPr>
            </a:lvl6pPr>
            <a:lvl7pPr>
              <a:defRPr sz="4000">
                <a:solidFill>
                  <a:schemeClr val="bg1"/>
                </a:solidFill>
              </a:defRPr>
            </a:lvl7pPr>
            <a:lvl8pPr>
              <a:defRPr sz="4000">
                <a:solidFill>
                  <a:schemeClr val="bg1"/>
                </a:solidFill>
              </a:defRPr>
            </a:lvl8pPr>
            <a:lvl9pPr>
              <a:defRPr sz="40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itel für das nächste Kapitel bitte hier einfügen</a:t>
            </a:r>
          </a:p>
        </p:txBody>
      </p:sp>
      <p:sp>
        <p:nvSpPr>
          <p:cNvPr id="8" name="Untertitel 2">
            <a:extLst>
              <a:ext uri="{FF2B5EF4-FFF2-40B4-BE49-F238E27FC236}">
                <a16:creationId xmlns:a16="http://schemas.microsoft.com/office/drawing/2014/main" id="{AE1ACD0B-7549-4DB6-B932-5D17631C4F42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1487487" y="5265738"/>
            <a:ext cx="6121401" cy="1225995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solidFill>
                  <a:schemeClr val="bg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5pPr>
            <a:lvl6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6pPr>
            <a:lvl7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7pPr>
            <a:lvl8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8pPr>
            <a:lvl9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de-DE"/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FB9B356D-077B-4EA8-8CD9-172297E20735}"/>
              </a:ext>
            </a:extLst>
          </p:cNvPr>
          <p:cNvSpPr/>
          <p:nvPr userDrawn="1"/>
        </p:nvSpPr>
        <p:spPr>
          <a:xfrm>
            <a:off x="-10580" y="1603901"/>
            <a:ext cx="10892824" cy="5265737"/>
          </a:xfrm>
          <a:custGeom>
            <a:avLst/>
            <a:gdLst>
              <a:gd name="connsiteX0" fmla="*/ 0 w 10892824"/>
              <a:gd name="connsiteY0" fmla="*/ 0 h 5265737"/>
              <a:gd name="connsiteX1" fmla="*/ 9854153 w 10892824"/>
              <a:gd name="connsiteY1" fmla="*/ 0 h 5265737"/>
              <a:gd name="connsiteX2" fmla="*/ 10892824 w 10892824"/>
              <a:gd name="connsiteY2" fmla="*/ 1038671 h 5265737"/>
              <a:gd name="connsiteX3" fmla="*/ 10892824 w 10892824"/>
              <a:gd name="connsiteY3" fmla="*/ 5265737 h 5265737"/>
              <a:gd name="connsiteX4" fmla="*/ 0 w 10892824"/>
              <a:gd name="connsiteY4" fmla="*/ 5265737 h 5265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892824" h="5265737">
                <a:moveTo>
                  <a:pt x="0" y="0"/>
                </a:moveTo>
                <a:lnTo>
                  <a:pt x="9854153" y="0"/>
                </a:lnTo>
                <a:cubicBezTo>
                  <a:pt x="10427795" y="0"/>
                  <a:pt x="10892824" y="465029"/>
                  <a:pt x="10892824" y="1038671"/>
                </a:cubicBezTo>
                <a:lnTo>
                  <a:pt x="10892824" y="5265737"/>
                </a:lnTo>
                <a:lnTo>
                  <a:pt x="0" y="5265737"/>
                </a:ln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CF693C21-4507-4F3E-81F3-C5129BC124FB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0" name="Oval 5">
              <a:extLst>
                <a:ext uri="{FF2B5EF4-FFF2-40B4-BE49-F238E27FC236}">
                  <a16:creationId xmlns:a16="http://schemas.microsoft.com/office/drawing/2014/main" id="{9C338AFF-E703-4949-85EC-CB4644EB8B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id="{252C4243-738B-4049-BDED-CD4B6AA6E6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2" name="Gruppieren 21">
              <a:extLst>
                <a:ext uri="{FF2B5EF4-FFF2-40B4-BE49-F238E27FC236}">
                  <a16:creationId xmlns:a16="http://schemas.microsoft.com/office/drawing/2014/main" id="{5CF87B07-4289-49FF-9D93-5E50076EA829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23" name="Freeform 7">
                <a:extLst>
                  <a:ext uri="{FF2B5EF4-FFF2-40B4-BE49-F238E27FC236}">
                    <a16:creationId xmlns:a16="http://schemas.microsoft.com/office/drawing/2014/main" id="{0B6C66D2-26E8-4D8C-B008-A5821EDA65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8">
                <a:extLst>
                  <a:ext uri="{FF2B5EF4-FFF2-40B4-BE49-F238E27FC236}">
                    <a16:creationId xmlns:a16="http://schemas.microsoft.com/office/drawing/2014/main" id="{2E3DC62B-3FCB-4F68-BE4D-EE46C674CF4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9">
                <a:extLst>
                  <a:ext uri="{FF2B5EF4-FFF2-40B4-BE49-F238E27FC236}">
                    <a16:creationId xmlns:a16="http://schemas.microsoft.com/office/drawing/2014/main" id="{051A77AC-8B30-43FC-8D49-FE6CFBBF28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0">
                <a:extLst>
                  <a:ext uri="{FF2B5EF4-FFF2-40B4-BE49-F238E27FC236}">
                    <a16:creationId xmlns:a16="http://schemas.microsoft.com/office/drawing/2014/main" id="{36558BEF-9E49-44A2-91FA-86FF532E46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1">
                <a:extLst>
                  <a:ext uri="{FF2B5EF4-FFF2-40B4-BE49-F238E27FC236}">
                    <a16:creationId xmlns:a16="http://schemas.microsoft.com/office/drawing/2014/main" id="{8E243C08-9029-4757-B58F-2B10ED5ED7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2">
                <a:extLst>
                  <a:ext uri="{FF2B5EF4-FFF2-40B4-BE49-F238E27FC236}">
                    <a16:creationId xmlns:a16="http://schemas.microsoft.com/office/drawing/2014/main" id="{551DA8B8-ABFE-424A-915B-1F8F10DC4C8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3">
                <a:extLst>
                  <a:ext uri="{FF2B5EF4-FFF2-40B4-BE49-F238E27FC236}">
                    <a16:creationId xmlns:a16="http://schemas.microsoft.com/office/drawing/2014/main" id="{BE56415D-81F1-4E23-80F6-F742A96E6B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4">
                <a:extLst>
                  <a:ext uri="{FF2B5EF4-FFF2-40B4-BE49-F238E27FC236}">
                    <a16:creationId xmlns:a16="http://schemas.microsoft.com/office/drawing/2014/main" id="{0F7D23C0-88E4-43F4-AF63-A90A4D971A9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5">
                <a:extLst>
                  <a:ext uri="{FF2B5EF4-FFF2-40B4-BE49-F238E27FC236}">
                    <a16:creationId xmlns:a16="http://schemas.microsoft.com/office/drawing/2014/main" id="{8104E26D-3B4A-471C-811A-D9D06E67E7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16">
                <a:extLst>
                  <a:ext uri="{FF2B5EF4-FFF2-40B4-BE49-F238E27FC236}">
                    <a16:creationId xmlns:a16="http://schemas.microsoft.com/office/drawing/2014/main" id="{CB8C91E4-CA6C-4E38-B0E9-648EC3A011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EDF9A70-399E-4529-A7DB-A038CFBA646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160919" y="7025133"/>
            <a:ext cx="457993" cy="101671"/>
          </a:xfrm>
        </p:spPr>
        <p:txBody>
          <a:bodyPr/>
          <a:lstStyle/>
          <a:p>
            <a:pPr algn="r"/>
            <a:fld id="{9E25E913-A55C-439E-AB1F-3587E9E614B6}" type="datetime1">
              <a:rPr lang="de-DE" smtClean="0"/>
              <a:t>2022-01-1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34C1970-862A-40A2-A410-8A18C19CA5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401051" y="7025133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F3A8B34-701D-49AF-8DAE-5BB05BEE9C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25538" y="7025133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23639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D19BAEC9-FD66-4F21-8513-21AE499E07F3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A9CBC99B-E8C6-4051-A9E9-0C624C40229F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11" name="Oval 5">
              <a:extLst>
                <a:ext uri="{FF2B5EF4-FFF2-40B4-BE49-F238E27FC236}">
                  <a16:creationId xmlns:a16="http://schemas.microsoft.com/office/drawing/2014/main" id="{DED38C07-9A75-471C-B61E-C6B17EDCE2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EBAC15C1-136D-42F8-A7B6-CB480B5AA0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3" name="Gruppieren 12">
              <a:extLst>
                <a:ext uri="{FF2B5EF4-FFF2-40B4-BE49-F238E27FC236}">
                  <a16:creationId xmlns:a16="http://schemas.microsoft.com/office/drawing/2014/main" id="{45361738-16C3-40AC-A788-EA9036EDBAFB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14" name="Freeform 7">
                <a:extLst>
                  <a:ext uri="{FF2B5EF4-FFF2-40B4-BE49-F238E27FC236}">
                    <a16:creationId xmlns:a16="http://schemas.microsoft.com/office/drawing/2014/main" id="{0C5DC918-EA52-4FC3-8A01-3388FE6CFA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5" name="Freeform 8">
                <a:extLst>
                  <a:ext uri="{FF2B5EF4-FFF2-40B4-BE49-F238E27FC236}">
                    <a16:creationId xmlns:a16="http://schemas.microsoft.com/office/drawing/2014/main" id="{ABB1E81B-393E-4C03-A0F0-5DA085524AB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6" name="Freeform 9">
                <a:extLst>
                  <a:ext uri="{FF2B5EF4-FFF2-40B4-BE49-F238E27FC236}">
                    <a16:creationId xmlns:a16="http://schemas.microsoft.com/office/drawing/2014/main" id="{7334091F-5E16-47D4-8265-3B46094438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10">
                <a:extLst>
                  <a:ext uri="{FF2B5EF4-FFF2-40B4-BE49-F238E27FC236}">
                    <a16:creationId xmlns:a16="http://schemas.microsoft.com/office/drawing/2014/main" id="{9FF719ED-D4C1-4360-BAB4-26734998B7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11">
                <a:extLst>
                  <a:ext uri="{FF2B5EF4-FFF2-40B4-BE49-F238E27FC236}">
                    <a16:creationId xmlns:a16="http://schemas.microsoft.com/office/drawing/2014/main" id="{B50B74DF-1EDF-4E89-A0F2-3DE62F5024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2">
                <a:extLst>
                  <a:ext uri="{FF2B5EF4-FFF2-40B4-BE49-F238E27FC236}">
                    <a16:creationId xmlns:a16="http://schemas.microsoft.com/office/drawing/2014/main" id="{B5C0C5D5-9E4D-47B8-811F-7E74CC67DAF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3">
                <a:extLst>
                  <a:ext uri="{FF2B5EF4-FFF2-40B4-BE49-F238E27FC236}">
                    <a16:creationId xmlns:a16="http://schemas.microsoft.com/office/drawing/2014/main" id="{D86D4DD4-8682-4840-A450-295468F320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4">
                <a:extLst>
                  <a:ext uri="{FF2B5EF4-FFF2-40B4-BE49-F238E27FC236}">
                    <a16:creationId xmlns:a16="http://schemas.microsoft.com/office/drawing/2014/main" id="{0DDC3BB0-F3F9-4D74-A613-68E6E9CAF43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5">
                <a:extLst>
                  <a:ext uri="{FF2B5EF4-FFF2-40B4-BE49-F238E27FC236}">
                    <a16:creationId xmlns:a16="http://schemas.microsoft.com/office/drawing/2014/main" id="{529D01BE-1D12-43D9-9580-7DD60A4ABC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6">
                <a:extLst>
                  <a:ext uri="{FF2B5EF4-FFF2-40B4-BE49-F238E27FC236}">
                    <a16:creationId xmlns:a16="http://schemas.microsoft.com/office/drawing/2014/main" id="{C99B43FC-7A0B-486C-995F-A1615F010F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" name="Untertitel 2">
            <a:extLst>
              <a:ext uri="{FF2B5EF4-FFF2-40B4-BE49-F238E27FC236}">
                <a16:creationId xmlns:a16="http://schemas.microsoft.com/office/drawing/2014/main" id="{3B2F4070-1FD5-4AA5-814E-B037EDDBD63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7248524" y="3428999"/>
            <a:ext cx="3455989" cy="1836738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latin typeface="+mj-lt"/>
              </a:defRPr>
            </a:lvl5pPr>
            <a:lvl6pPr marL="0" indent="0" algn="l">
              <a:buNone/>
              <a:defRPr sz="1600">
                <a:latin typeface="+mj-lt"/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1600">
                <a:latin typeface="+mj-lt"/>
              </a:defRPr>
            </a:lvl8pPr>
            <a:lvl9pPr marL="0" indent="0" algn="l">
              <a:buNone/>
              <a:defRPr sz="1600"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48524" y="1592263"/>
            <a:ext cx="3455989" cy="1836736"/>
          </a:xfrm>
        </p:spPr>
        <p:txBody>
          <a:bodyPr anchor="t"/>
          <a:lstStyle>
            <a:lvl1pPr>
              <a:defRPr sz="4000"/>
            </a:lvl1pPr>
            <a:lvl2pPr>
              <a:defRPr sz="4000"/>
            </a:lvl2pPr>
            <a:lvl3pPr>
              <a:defRPr sz="4000"/>
            </a:lvl3pPr>
            <a:lvl4pPr>
              <a:defRPr sz="4000"/>
            </a:lvl4pPr>
            <a:lvl5pPr>
              <a:defRPr sz="4000"/>
            </a:lvl5pPr>
            <a:lvl6pPr>
              <a:defRPr sz="4000"/>
            </a:lvl6pPr>
            <a:lvl7pPr>
              <a:defRPr sz="4000"/>
            </a:lvl7pPr>
            <a:lvl8pPr>
              <a:defRPr sz="4000"/>
            </a:lvl8pPr>
            <a:lvl9pPr>
              <a:defRPr sz="4000"/>
            </a:lvl9pPr>
          </a:lstStyle>
          <a:p>
            <a:pPr lvl="0"/>
            <a:r>
              <a:rPr lang="de-DE"/>
              <a:t>Kapitel- </a:t>
            </a:r>
            <a:r>
              <a:rPr lang="de-DE" err="1"/>
              <a:t>überschrift</a:t>
            </a:r>
            <a:endParaRPr lang="de-DE"/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9782B2D3-3015-47F5-901D-035A84A3802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6096000" cy="6223000"/>
          </a:xfrm>
          <a:custGeom>
            <a:avLst/>
            <a:gdLst>
              <a:gd name="connsiteX0" fmla="*/ 0 w 6096000"/>
              <a:gd name="connsiteY0" fmla="*/ 0 h 6223000"/>
              <a:gd name="connsiteX1" fmla="*/ 6096000 w 6096000"/>
              <a:gd name="connsiteY1" fmla="*/ 0 h 6223000"/>
              <a:gd name="connsiteX2" fmla="*/ 6096000 w 6096000"/>
              <a:gd name="connsiteY2" fmla="*/ 5356758 h 6223000"/>
              <a:gd name="connsiteX3" fmla="*/ 5229758 w 6096000"/>
              <a:gd name="connsiteY3" fmla="*/ 6223000 h 6223000"/>
              <a:gd name="connsiteX4" fmla="*/ 0 w 6096000"/>
              <a:gd name="connsiteY4" fmla="*/ 6223000 h 622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223000">
                <a:moveTo>
                  <a:pt x="0" y="0"/>
                </a:moveTo>
                <a:lnTo>
                  <a:pt x="6096000" y="0"/>
                </a:lnTo>
                <a:lnTo>
                  <a:pt x="6096000" y="5356758"/>
                </a:lnTo>
                <a:cubicBezTo>
                  <a:pt x="6096000" y="5835170"/>
                  <a:pt x="5708170" y="6223000"/>
                  <a:pt x="5229758" y="6223000"/>
                </a:cubicBezTo>
                <a:lnTo>
                  <a:pt x="0" y="6223000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470B864-D8FD-472B-9A86-77DCF86B9E6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/>
            <a:fld id="{A80FB927-1A58-4E09-A909-9806282EEA25}" type="datetime1">
              <a:rPr lang="de-DE" smtClean="0"/>
              <a:t>2022-01-1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C28D540-C8DE-4034-A254-7BB58C165E0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F89D174-75D8-4071-AA9C-8B2BD14EC03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31173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folie Vollbil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13E9D82D-5D08-4FC1-95C5-CD90A0D9356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6B8D83B-3D98-4471-AF20-0C67F30100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2816224"/>
            <a:ext cx="8064500" cy="1841501"/>
          </a:xfr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/>
              <a:t>Zitat </a:t>
            </a:r>
            <a:br>
              <a:rPr lang="de-DE"/>
            </a:br>
            <a:r>
              <a:rPr lang="de-DE"/>
              <a:t>einfüg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4AD187A-8A99-4D06-B785-2C21A941A8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87488" y="4657725"/>
            <a:ext cx="3095625" cy="608013"/>
          </a:xfrm>
        </p:spPr>
        <p:txBody>
          <a:bodyPr anchor="t"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/>
              <a:t>Autor Name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88AA59F2-37D4-43F8-B192-3887B7508CA5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1160919" y="7009500"/>
            <a:ext cx="457993" cy="101671"/>
          </a:xfrm>
        </p:spPr>
        <p:txBody>
          <a:bodyPr/>
          <a:lstStyle/>
          <a:p>
            <a:pPr algn="r"/>
            <a:fld id="{B8A3E65D-CEC7-420B-B014-9E8BEF31F264}" type="datetime1">
              <a:rPr lang="de-DE" smtClean="0"/>
              <a:t>2022-01-13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1EEDA36-86DF-4B36-9DC1-5C5F714BDF4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8401051" y="7009500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8E83B89D-AEFA-4D2D-8474-085DB9B1468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725538" y="7009500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0" name="Textplatzhalter 117">
            <a:extLst>
              <a:ext uri="{FF2B5EF4-FFF2-40B4-BE49-F238E27FC236}">
                <a16:creationId xmlns:a16="http://schemas.microsoft.com/office/drawing/2014/main" id="{BE357662-367D-4A40-9798-9F75D1A3578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13652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BAD125F8-A201-4843-B9C3-EE473EBCF2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191995 w 12192000"/>
              <a:gd name="connsiteY3" fmla="*/ 6858000 h 6858000"/>
              <a:gd name="connsiteX4" fmla="*/ 12191995 w 12192000"/>
              <a:gd name="connsiteY4" fmla="*/ 6248399 h 6858000"/>
              <a:gd name="connsiteX5" fmla="*/ 1319758 w 12192000"/>
              <a:gd name="connsiteY5" fmla="*/ 6248399 h 6858000"/>
              <a:gd name="connsiteX6" fmla="*/ 418902 w 12192000"/>
              <a:gd name="connsiteY6" fmla="*/ 6727381 h 6858000"/>
              <a:gd name="connsiteX7" fmla="*/ 348004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91995" y="6858000"/>
                </a:lnTo>
                <a:lnTo>
                  <a:pt x="12191995" y="6248399"/>
                </a:lnTo>
                <a:lnTo>
                  <a:pt x="1319758" y="6248399"/>
                </a:lnTo>
                <a:cubicBezTo>
                  <a:pt x="944758" y="6248399"/>
                  <a:pt x="614135" y="6438398"/>
                  <a:pt x="418902" y="6727381"/>
                </a:cubicBezTo>
                <a:lnTo>
                  <a:pt x="34800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2" cy="367347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130E97F4-C217-4BA2-8F72-C0A2F1385488}"/>
              </a:ext>
            </a:extLst>
          </p:cNvPr>
          <p:cNvSpPr/>
          <p:nvPr userDrawn="1"/>
        </p:nvSpPr>
        <p:spPr>
          <a:xfrm flipH="1">
            <a:off x="544131" y="6112552"/>
            <a:ext cx="11658443" cy="756028"/>
          </a:xfrm>
          <a:custGeom>
            <a:avLst/>
            <a:gdLst>
              <a:gd name="connsiteX0" fmla="*/ 10720524 w 11658443"/>
              <a:gd name="connsiteY0" fmla="*/ 0 h 756028"/>
              <a:gd name="connsiteX1" fmla="*/ 0 w 11658443"/>
              <a:gd name="connsiteY1" fmla="*/ 0 h 756028"/>
              <a:gd name="connsiteX2" fmla="*/ 0 w 11658443"/>
              <a:gd name="connsiteY2" fmla="*/ 756028 h 756028"/>
              <a:gd name="connsiteX3" fmla="*/ 11658443 w 11658443"/>
              <a:gd name="connsiteY3" fmla="*/ 756028 h 756028"/>
              <a:gd name="connsiteX4" fmla="*/ 11605940 w 11658443"/>
              <a:gd name="connsiteY4" fmla="*/ 586893 h 756028"/>
              <a:gd name="connsiteX5" fmla="*/ 10720524 w 11658443"/>
              <a:gd name="connsiteY5" fmla="*/ 0 h 756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658443" h="756028">
                <a:moveTo>
                  <a:pt x="10720524" y="0"/>
                </a:moveTo>
                <a:lnTo>
                  <a:pt x="0" y="0"/>
                </a:lnTo>
                <a:lnTo>
                  <a:pt x="0" y="756028"/>
                </a:lnTo>
                <a:lnTo>
                  <a:pt x="11658443" y="756028"/>
                </a:lnTo>
                <a:lnTo>
                  <a:pt x="11605940" y="586893"/>
                </a:lnTo>
                <a:cubicBezTo>
                  <a:pt x="11460063" y="242001"/>
                  <a:pt x="11118555" y="0"/>
                  <a:pt x="10720524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1C8B4150-817E-4B8E-916F-E8B46846C44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5999" y="1592263"/>
            <a:ext cx="4608512" cy="367347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C16F1EDE-07DF-43AB-8A65-661E3310C7DD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6" cy="635012"/>
          </a:xfrm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E1693C54-214A-467B-94D9-3C6EEBB7A9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60FD036F-A46D-4314-8131-39D809908F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4D8268D6-65FC-417B-BB85-D567682934A8}"/>
                </a:ext>
              </a:extLst>
            </p:cNvPr>
            <p:cNvGrpSpPr/>
            <p:nvPr/>
          </p:nvGrpSpPr>
          <p:grpSpPr>
            <a:xfrm>
              <a:off x="1311217" y="1530579"/>
              <a:ext cx="1533582" cy="307590"/>
              <a:chOff x="3987943" y="2307132"/>
              <a:chExt cx="2607166" cy="522910"/>
            </a:xfrm>
          </p:grpSpPr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4172BB35-8858-49CD-96AE-FDCEE59F22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8">
                <a:extLst>
                  <a:ext uri="{FF2B5EF4-FFF2-40B4-BE49-F238E27FC236}">
                    <a16:creationId xmlns:a16="http://schemas.microsoft.com/office/drawing/2014/main" id="{F340F6B4-1EFA-483F-B118-558F6661B57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9">
                <a:extLst>
                  <a:ext uri="{FF2B5EF4-FFF2-40B4-BE49-F238E27FC236}">
                    <a16:creationId xmlns:a16="http://schemas.microsoft.com/office/drawing/2014/main" id="{67E7091C-7DB4-4F54-8BD2-10E16CA708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0">
                <a:extLst>
                  <a:ext uri="{FF2B5EF4-FFF2-40B4-BE49-F238E27FC236}">
                    <a16:creationId xmlns:a16="http://schemas.microsoft.com/office/drawing/2014/main" id="{4AC1E5B1-8B93-4B6A-9CE2-8CE4650B3F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1">
                <a:extLst>
                  <a:ext uri="{FF2B5EF4-FFF2-40B4-BE49-F238E27FC236}">
                    <a16:creationId xmlns:a16="http://schemas.microsoft.com/office/drawing/2014/main" id="{B1F3E871-E4D3-47AC-AB4F-2FD7CE3DC8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9" name="Freeform 12">
                <a:extLst>
                  <a:ext uri="{FF2B5EF4-FFF2-40B4-BE49-F238E27FC236}">
                    <a16:creationId xmlns:a16="http://schemas.microsoft.com/office/drawing/2014/main" id="{CCC5F6CC-254D-4796-85D0-A82C55A1BF6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3">
                <a:extLst>
                  <a:ext uri="{FF2B5EF4-FFF2-40B4-BE49-F238E27FC236}">
                    <a16:creationId xmlns:a16="http://schemas.microsoft.com/office/drawing/2014/main" id="{D01066B0-8E74-4F18-86ED-E60684F2B0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4">
                <a:extLst>
                  <a:ext uri="{FF2B5EF4-FFF2-40B4-BE49-F238E27FC236}">
                    <a16:creationId xmlns:a16="http://schemas.microsoft.com/office/drawing/2014/main" id="{EC483BAE-FA8E-412F-B79A-2DCC30C26BD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5">
                <a:extLst>
                  <a:ext uri="{FF2B5EF4-FFF2-40B4-BE49-F238E27FC236}">
                    <a16:creationId xmlns:a16="http://schemas.microsoft.com/office/drawing/2014/main" id="{EE2F4D82-F828-4479-AF1C-2DCE4FC556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6">
                <a:extLst>
                  <a:ext uri="{FF2B5EF4-FFF2-40B4-BE49-F238E27FC236}">
                    <a16:creationId xmlns:a16="http://schemas.microsoft.com/office/drawing/2014/main" id="{8A1DBB14-E57E-4B1F-A22A-35FA040005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D5F6429-6903-4DFA-8711-34C3DBEF5FF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C9BCB8F6-85A9-4E35-967D-28A030A6E3AB}" type="datetime1">
              <a:rPr lang="de-DE" smtClean="0"/>
              <a:t>2022-01-1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C01C9B1-F32F-4DD5-92C2-59AA306A341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5DA77D9-60AF-4B23-A340-0E478ACD3C0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5" name="Untertitel 2">
            <a:extLst>
              <a:ext uri="{FF2B5EF4-FFF2-40B4-BE49-F238E27FC236}">
                <a16:creationId xmlns:a16="http://schemas.microsoft.com/office/drawing/2014/main" id="{914B376C-9141-4DC8-8154-F283A5A7BB8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639355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fol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43B2B53F-4E76-4B5C-A72C-FAF82D9E2878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75201C21-CEDF-48CA-93BB-DCDE83D534C5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02C52DA6-D781-4567-9964-041EC68B06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220CFDCA-BA3A-42E0-B47F-9245B47DA7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6A0DAE39-70FF-48A6-8E27-8F70D93BDC9D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id="{0044B34A-C2D1-436E-B9BB-E778BCF8C4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4C9B4A84-E50E-4911-B5B2-518AAE16C82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4118E05D-B58E-4583-822E-8E801F1B71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1EFDAA4F-3A46-415B-B805-F62DCCDB31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0190A4D5-1889-4CEE-9622-126BC31DBD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DA77A66D-1283-4A5A-9E1F-9A051D2A2E8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03C6FEEB-6794-4EB2-9610-8A0576ADB8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349A3C5C-A554-4AC4-9892-85FEFE1EABC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E78FD7B2-7ED7-43BD-853B-C6FD3A728F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312FEFA6-7DF0-46EC-BA10-172F3435D8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2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0A241901-4314-4749-BA37-8BFED61F3C7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/>
            <a:fld id="{F800E352-31DC-4910-85B5-AE3D1A8CE04F}" type="datetime1">
              <a:rPr lang="de-DE" smtClean="0"/>
              <a:t>2022-01-13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72963B00-689C-4933-A4CB-D08E8780A83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2C85099F-F1E7-44DA-A203-9C60530ED48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9" name="Untertitel 2">
            <a:extLst>
              <a:ext uri="{FF2B5EF4-FFF2-40B4-BE49-F238E27FC236}">
                <a16:creationId xmlns:a16="http://schemas.microsoft.com/office/drawing/2014/main" id="{8414F840-8E20-4CCB-B143-253301C042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3008218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ild 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hteck 45">
            <a:extLst>
              <a:ext uri="{FF2B5EF4-FFF2-40B4-BE49-F238E27FC236}">
                <a16:creationId xmlns:a16="http://schemas.microsoft.com/office/drawing/2014/main" id="{3D2A4342-772C-454C-9FB8-F488668A682D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6913562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3A90691E-716D-4DE3-BDD9-DFE364F3C8D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8401050" y="0"/>
            <a:ext cx="3790950" cy="5990252"/>
          </a:xfrm>
          <a:custGeom>
            <a:avLst/>
            <a:gdLst>
              <a:gd name="connsiteX0" fmla="*/ 0 w 3790950"/>
              <a:gd name="connsiteY0" fmla="*/ 0 h 5990252"/>
              <a:gd name="connsiteX1" fmla="*/ 3790950 w 3790950"/>
              <a:gd name="connsiteY1" fmla="*/ 0 h 5990252"/>
              <a:gd name="connsiteX2" fmla="*/ 3790950 w 3790950"/>
              <a:gd name="connsiteY2" fmla="*/ 5990252 h 5990252"/>
              <a:gd name="connsiteX3" fmla="*/ 861219 w 3790950"/>
              <a:gd name="connsiteY3" fmla="*/ 5990252 h 5990252"/>
              <a:gd name="connsiteX4" fmla="*/ 0 w 3790950"/>
              <a:gd name="connsiteY4" fmla="*/ 5129033 h 599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90950" h="5990252">
                <a:moveTo>
                  <a:pt x="0" y="0"/>
                </a:moveTo>
                <a:lnTo>
                  <a:pt x="3790950" y="0"/>
                </a:lnTo>
                <a:lnTo>
                  <a:pt x="3790950" y="5990252"/>
                </a:lnTo>
                <a:lnTo>
                  <a:pt x="861219" y="5990252"/>
                </a:lnTo>
                <a:cubicBezTo>
                  <a:pt x="385581" y="5990252"/>
                  <a:pt x="0" y="5604671"/>
                  <a:pt x="0" y="512903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223D12F-5BA2-4212-90D8-C3F2987139E1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 algn="r"/>
            <a:fld id="{A682A0FA-610E-4175-B0E6-E2FF143341ED}" type="datetime1">
              <a:rPr lang="de-DE" smtClean="0"/>
              <a:t>2022-01-1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2B1AFC9-741A-4EC5-8430-DC0E85F28FA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D9EA5FB-BF30-46C2-B765-2D66629D139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platzhalter 117">
            <a:extLst>
              <a:ext uri="{FF2B5EF4-FFF2-40B4-BE49-F238E27FC236}">
                <a16:creationId xmlns:a16="http://schemas.microsoft.com/office/drawing/2014/main" id="{E1B82D6B-28E6-4BDE-BF4D-24E61A53183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FD37BB37-15C1-4D4F-B838-4BB494FCC96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3292745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folie Vollbil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C9247478-3193-499B-A283-D437B7BC3F3A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3988F174-6036-41F7-9040-E94FB9C3CECC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-1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4287 w 12192000"/>
              <a:gd name="connsiteY1" fmla="*/ 0 h 6858000"/>
              <a:gd name="connsiteX2" fmla="*/ 731500 w 12192000"/>
              <a:gd name="connsiteY2" fmla="*/ 0 h 6858000"/>
              <a:gd name="connsiteX3" fmla="*/ 12192000 w 12192000"/>
              <a:gd name="connsiteY3" fmla="*/ 0 h 6858000"/>
              <a:gd name="connsiteX4" fmla="*/ 12192000 w 12192000"/>
              <a:gd name="connsiteY4" fmla="*/ 6858000 h 6858000"/>
              <a:gd name="connsiteX5" fmla="*/ 6096000 w 12192000"/>
              <a:gd name="connsiteY5" fmla="*/ 6858000 h 6858000"/>
              <a:gd name="connsiteX6" fmla="*/ 6096000 w 12192000"/>
              <a:gd name="connsiteY6" fmla="*/ 1629422 h 6858000"/>
              <a:gd name="connsiteX7" fmla="*/ 5088684 w 12192000"/>
              <a:gd name="connsiteY7" fmla="*/ 622106 h 6858000"/>
              <a:gd name="connsiteX8" fmla="*/ 731500 w 12192000"/>
              <a:gd name="connsiteY8" fmla="*/ 622106 h 6858000"/>
              <a:gd name="connsiteX9" fmla="*/ 14287 w 12192000"/>
              <a:gd name="connsiteY9" fmla="*/ 622106 h 6858000"/>
              <a:gd name="connsiteX10" fmla="*/ 0 w 12192000"/>
              <a:gd name="connsiteY10" fmla="*/ 62210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4287" y="0"/>
                </a:lnTo>
                <a:lnTo>
                  <a:pt x="731500" y="0"/>
                </a:lnTo>
                <a:lnTo>
                  <a:pt x="12192000" y="0"/>
                </a:lnTo>
                <a:lnTo>
                  <a:pt x="12192000" y="6858000"/>
                </a:lnTo>
                <a:lnTo>
                  <a:pt x="6096000" y="6858000"/>
                </a:lnTo>
                <a:lnTo>
                  <a:pt x="6096000" y="1629422"/>
                </a:lnTo>
                <a:cubicBezTo>
                  <a:pt x="6096000" y="1073097"/>
                  <a:pt x="5645009" y="622106"/>
                  <a:pt x="5088684" y="622106"/>
                </a:cubicBezTo>
                <a:lnTo>
                  <a:pt x="731500" y="622106"/>
                </a:lnTo>
                <a:lnTo>
                  <a:pt x="14287" y="622106"/>
                </a:lnTo>
                <a:lnTo>
                  <a:pt x="0" y="622106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lIns="1800000" tIns="0" bIns="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1592263"/>
            <a:ext cx="3455987" cy="1223962"/>
          </a:xfrm>
        </p:spPr>
        <p:txBody>
          <a:bodyPr anchor="t"/>
          <a:lstStyle>
            <a:lvl1pPr>
              <a:defRPr sz="5400"/>
            </a:lvl1pPr>
            <a:lvl2pPr>
              <a:defRPr sz="5400"/>
            </a:lvl2pPr>
            <a:lvl3pPr>
              <a:defRPr sz="5400"/>
            </a:lvl3pPr>
            <a:lvl4pPr>
              <a:defRPr sz="5400"/>
            </a:lvl4pPr>
            <a:lvl5pPr>
              <a:defRPr sz="5400"/>
            </a:lvl5pPr>
            <a:lvl6pPr>
              <a:defRPr sz="5400"/>
            </a:lvl6pPr>
            <a:lvl7pPr>
              <a:defRPr sz="5400"/>
            </a:lvl7pPr>
            <a:lvl8pPr>
              <a:defRPr sz="5400"/>
            </a:lvl8pPr>
            <a:lvl9pPr>
              <a:defRPr sz="5400"/>
            </a:lvl9pPr>
          </a:lstStyle>
          <a:p>
            <a:pPr lvl="0"/>
            <a:r>
              <a:rPr lang="de-DE"/>
              <a:t>Agenda</a:t>
            </a:r>
          </a:p>
        </p:txBody>
      </p:sp>
      <p:sp>
        <p:nvSpPr>
          <p:cNvPr id="8" name="Textplatzhalter 9">
            <a:extLst>
              <a:ext uri="{FF2B5EF4-FFF2-40B4-BE49-F238E27FC236}">
                <a16:creationId xmlns:a16="http://schemas.microsoft.com/office/drawing/2014/main" id="{85F76B8B-1FC5-4521-AD1F-6A3F92AE390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487488" y="2816225"/>
            <a:ext cx="3455987" cy="3673475"/>
          </a:xfrm>
        </p:spPr>
        <p:txBody>
          <a:bodyPr/>
          <a:lstStyle>
            <a:lvl1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Ers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Zwei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Drit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Vier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Fünfte Ebene für Aufzählungen</a:t>
            </a:r>
          </a:p>
          <a:p>
            <a:pPr lvl="0"/>
            <a:r>
              <a:rPr lang="de-DE"/>
              <a:t>Sechste Ebene für Highlights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C54598E-FC50-496C-9931-8DA549B04D5D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1160919" y="7101333"/>
            <a:ext cx="457993" cy="101671"/>
          </a:xfrm>
        </p:spPr>
        <p:txBody>
          <a:bodyPr/>
          <a:lstStyle/>
          <a:p>
            <a:pPr algn="r"/>
            <a:fld id="{044EC089-D3F2-46D5-992E-B07E7DD36756}" type="datetime1">
              <a:rPr lang="de-DE" smtClean="0"/>
              <a:t>2022-01-1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F3E8894-DCFC-4586-95EE-4E7F5B69739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8401051" y="7101333"/>
            <a:ext cx="2522534" cy="101671"/>
          </a:xfrm>
        </p:spPr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A36E9F1-F3BA-4241-A2AA-E1B75550C16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725538" y="7101333"/>
            <a:ext cx="191824" cy="101671"/>
          </a:xfrm>
        </p:spPr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4" name="Textplatzhalter 117">
            <a:extLst>
              <a:ext uri="{FF2B5EF4-FFF2-40B4-BE49-F238E27FC236}">
                <a16:creationId xmlns:a16="http://schemas.microsoft.com/office/drawing/2014/main" id="{27728EDC-9F95-41EC-A4B7-522A95BE7C0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13627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ild 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60CFFCAA-FE4E-4313-92E3-61D46429689A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2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33FA860D-0A1E-41CA-B1A0-2CE3754EDE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096000" y="1"/>
            <a:ext cx="6096000" cy="5990252"/>
          </a:xfrm>
          <a:custGeom>
            <a:avLst/>
            <a:gdLst>
              <a:gd name="connsiteX0" fmla="*/ 0 w 6096000"/>
              <a:gd name="connsiteY0" fmla="*/ 0 h 5990252"/>
              <a:gd name="connsiteX1" fmla="*/ 6096000 w 6096000"/>
              <a:gd name="connsiteY1" fmla="*/ 0 h 5990252"/>
              <a:gd name="connsiteX2" fmla="*/ 6096000 w 6096000"/>
              <a:gd name="connsiteY2" fmla="*/ 5990252 h 5990252"/>
              <a:gd name="connsiteX3" fmla="*/ 861219 w 6096000"/>
              <a:gd name="connsiteY3" fmla="*/ 5990252 h 5990252"/>
              <a:gd name="connsiteX4" fmla="*/ 0 w 6096000"/>
              <a:gd name="connsiteY4" fmla="*/ 5129033 h 599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5990252">
                <a:moveTo>
                  <a:pt x="0" y="0"/>
                </a:moveTo>
                <a:lnTo>
                  <a:pt x="6096000" y="0"/>
                </a:lnTo>
                <a:lnTo>
                  <a:pt x="6096000" y="5990252"/>
                </a:lnTo>
                <a:lnTo>
                  <a:pt x="861219" y="5990252"/>
                </a:lnTo>
                <a:cubicBezTo>
                  <a:pt x="385581" y="5990252"/>
                  <a:pt x="0" y="5604671"/>
                  <a:pt x="0" y="512903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B53A2B0-760E-4033-91D7-8649FC3A050C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7B1E58D8-E813-4596-AE93-4A1B2242C16F}" type="datetime1">
              <a:rPr lang="de-DE" smtClean="0"/>
              <a:t>2022-01-1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E991CD1-EC6E-43B8-8B3F-4B3737746BE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D784862-17BF-429A-BCE7-BD798D825FD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platzhalter 117">
            <a:extLst>
              <a:ext uri="{FF2B5EF4-FFF2-40B4-BE49-F238E27FC236}">
                <a16:creationId xmlns:a16="http://schemas.microsoft.com/office/drawing/2014/main" id="{8CA28BF6-CD77-4A2E-A2AD-EB98ED41B5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43D1650B-5C98-4AAF-B2EE-76905550106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596806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ild 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317B55F7-F5B3-46AC-9AB6-55579C09F6E2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2305050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2301875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43E2C865-4F6F-4FFB-9FA5-5FFFFBBB051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792538" y="0"/>
            <a:ext cx="8399462" cy="5990252"/>
          </a:xfrm>
          <a:custGeom>
            <a:avLst/>
            <a:gdLst>
              <a:gd name="connsiteX0" fmla="*/ 0 w 8399462"/>
              <a:gd name="connsiteY0" fmla="*/ 0 h 5990252"/>
              <a:gd name="connsiteX1" fmla="*/ 8399462 w 8399462"/>
              <a:gd name="connsiteY1" fmla="*/ 0 h 5990252"/>
              <a:gd name="connsiteX2" fmla="*/ 8399462 w 8399462"/>
              <a:gd name="connsiteY2" fmla="*/ 5990252 h 5990252"/>
              <a:gd name="connsiteX3" fmla="*/ 861219 w 8399462"/>
              <a:gd name="connsiteY3" fmla="*/ 5990252 h 5990252"/>
              <a:gd name="connsiteX4" fmla="*/ 0 w 8399462"/>
              <a:gd name="connsiteY4" fmla="*/ 5129033 h 599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399462" h="5990252">
                <a:moveTo>
                  <a:pt x="0" y="0"/>
                </a:moveTo>
                <a:lnTo>
                  <a:pt x="8399462" y="0"/>
                </a:lnTo>
                <a:lnTo>
                  <a:pt x="8399462" y="5990252"/>
                </a:lnTo>
                <a:lnTo>
                  <a:pt x="861219" y="5990252"/>
                </a:lnTo>
                <a:cubicBezTo>
                  <a:pt x="385581" y="5990252"/>
                  <a:pt x="0" y="5604671"/>
                  <a:pt x="0" y="512903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B0E5F44-7D73-4948-A7F2-232AB4FF03C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73151013-D7F0-4CDA-A750-EA3BF1B837A0}" type="datetime1">
              <a:rPr lang="de-DE" smtClean="0"/>
              <a:t>2022-01-1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FA77F78-4CC6-4F26-8568-3DB995886CD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1FCC11E2-1CDF-49C5-9FE1-DB63FC68EC2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platzhalter 117">
            <a:extLst>
              <a:ext uri="{FF2B5EF4-FFF2-40B4-BE49-F238E27FC236}">
                <a16:creationId xmlns:a16="http://schemas.microsoft.com/office/drawing/2014/main" id="{E884F540-0080-4436-99F9-12F8A496165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891DB37A-5F81-4650-B5EC-5A44F6A0414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2301875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3846127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Handy Mock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4FB74C79-6B2D-447C-A2E5-85FB3B12B787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D37BE5F2-D7FB-4977-8AF7-D18E307485C0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7167D78A-F631-4872-8F60-EFB6C3F3F2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EC11866A-2BDE-489A-8672-1BDDD2DDCA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412BBC8C-A999-4145-8AF2-263B11FCF75C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id="{757D08F4-328E-40C1-B69B-14F4437DE1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25251DDD-805D-4D26-BF44-4C9F5441CA2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FC4DAFC4-E681-44F5-B923-1F20567D25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EBAA4CDC-2750-471B-AD22-96D8C847C9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DC2428D3-3B70-4634-A5C7-5803307737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3E7E9CD4-A2C5-419E-9B44-13A4212813D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498E6F53-74C9-452A-9930-4FBABABA06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DBED4D4F-FE8B-4103-97F7-7BFC82163AF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E3A5F04A-8433-42FB-9FB9-A2B210CE6A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A49C6C45-95C3-4970-9C5B-9B96FA94F5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 userDrawn="1"/>
        </p:nvSpPr>
        <p:spPr>
          <a:xfrm>
            <a:off x="7812776" y="1130300"/>
            <a:ext cx="2293249" cy="4800600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5761037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4" name="Grafik 13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8154BCEC-D9D2-4955-A59E-FC7B39327B5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736702" y="686312"/>
            <a:ext cx="4049097" cy="6273288"/>
          </a:xfrm>
          <a:prstGeom prst="rect">
            <a:avLst/>
          </a:prstGeom>
        </p:spPr>
      </p:pic>
      <p:sp>
        <p:nvSpPr>
          <p:cNvPr id="48" name="Bildplatzhalter 47">
            <a:extLst>
              <a:ext uri="{FF2B5EF4-FFF2-40B4-BE49-F238E27FC236}">
                <a16:creationId xmlns:a16="http://schemas.microsoft.com/office/drawing/2014/main" id="{21BB63CB-D1F9-47F4-BC55-11AD749DA26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188325" y="834258"/>
            <a:ext cx="2235362" cy="4833117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2EF9841-421F-4152-880D-BBF3BBD10B58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6E790EEC-BD8F-4F5C-8C38-64C80624C87D}" type="datetime1">
              <a:rPr lang="de-DE" smtClean="0"/>
              <a:t>2022-01-13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A86F7D5-69CA-4283-8022-108E607FC8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0EDD423B-497D-4CCF-A170-87E1DA4963E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9" name="Untertitel 2">
            <a:extLst>
              <a:ext uri="{FF2B5EF4-FFF2-40B4-BE49-F238E27FC236}">
                <a16:creationId xmlns:a16="http://schemas.microsoft.com/office/drawing/2014/main" id="{66B6D06B-2653-4492-86EF-908ECD7ABEA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55651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Handy Mock Up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FEB09ED1-D2C0-4AA9-B708-2A32DD37818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3429000 h 6858000"/>
              <a:gd name="connsiteX3" fmla="*/ 7023099 w 12192000"/>
              <a:gd name="connsiteY3" fmla="*/ 3429000 h 6858000"/>
              <a:gd name="connsiteX4" fmla="*/ 6096000 w 12192000"/>
              <a:gd name="connsiteY4" fmla="*/ 4356099 h 6858000"/>
              <a:gd name="connsiteX5" fmla="*/ 6096000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7023099" y="3429000"/>
                </a:lnTo>
                <a:cubicBezTo>
                  <a:pt x="6511076" y="3429000"/>
                  <a:pt x="6096000" y="3844076"/>
                  <a:pt x="6096000" y="4356099"/>
                </a:cubicBez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 userDrawn="1"/>
        </p:nvSpPr>
        <p:spPr>
          <a:xfrm>
            <a:off x="7812776" y="1130300"/>
            <a:ext cx="2293249" cy="4800600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8138" y="1592263"/>
            <a:ext cx="4605338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9" name="Grafik 1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04A93760-5CB7-4A71-88CE-5A17695854F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736702" y="686312"/>
            <a:ext cx="4049097" cy="6273288"/>
          </a:xfrm>
          <a:prstGeom prst="rect">
            <a:avLst/>
          </a:prstGeom>
        </p:spPr>
      </p:pic>
      <p:sp>
        <p:nvSpPr>
          <p:cNvPr id="12" name="Bildplatzhalter 47">
            <a:extLst>
              <a:ext uri="{FF2B5EF4-FFF2-40B4-BE49-F238E27FC236}">
                <a16:creationId xmlns:a16="http://schemas.microsoft.com/office/drawing/2014/main" id="{9FFF591E-DE1B-4866-BA8A-50846A0938A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188325" y="834258"/>
            <a:ext cx="2235362" cy="4833117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9FAA5AB-AF5D-45FC-9331-37CB30DA67F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50E8140F-F0DB-46A7-8091-34021CE7E835}" type="datetime1">
              <a:rPr lang="de-DE" smtClean="0"/>
              <a:t>2022-01-13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586052F2-2BEC-49E6-B1FD-629E3243462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CC481FCD-D56C-4922-BAFD-224BE4BC24F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01E1623E-C7C8-456D-B712-2ACDFE584EBB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5" cy="635012"/>
          </a:xfrm>
        </p:grpSpPr>
        <p:sp>
          <p:nvSpPr>
            <p:cNvPr id="14" name="Oval 5">
              <a:extLst>
                <a:ext uri="{FF2B5EF4-FFF2-40B4-BE49-F238E27FC236}">
                  <a16:creationId xmlns:a16="http://schemas.microsoft.com/office/drawing/2014/main" id="{358E2997-F269-4B55-819A-BD949E9783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576BB871-46F7-4C87-A566-E27C94415E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1553D4F3-B8D5-4E12-8C8B-CA8D8E2770C0}"/>
                </a:ext>
              </a:extLst>
            </p:cNvPr>
            <p:cNvGrpSpPr/>
            <p:nvPr/>
          </p:nvGrpSpPr>
          <p:grpSpPr>
            <a:xfrm>
              <a:off x="1311216" y="1530579"/>
              <a:ext cx="1533582" cy="307590"/>
              <a:chOff x="3987943" y="2307132"/>
              <a:chExt cx="2607166" cy="522910"/>
            </a:xfrm>
          </p:grpSpPr>
          <p:sp>
            <p:nvSpPr>
              <p:cNvPr id="18" name="Freeform 7">
                <a:extLst>
                  <a:ext uri="{FF2B5EF4-FFF2-40B4-BE49-F238E27FC236}">
                    <a16:creationId xmlns:a16="http://schemas.microsoft.com/office/drawing/2014/main" id="{27F14C16-9401-415C-8BD8-DEE7D893D8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0D470AC2-F14B-419D-9CAB-34FCD7601E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D544B772-451B-4E62-A44C-36EEB45F0E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F3045032-1089-4088-B9C1-C273C1BDBB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F21C82FE-8694-4686-BBB5-827622BDA3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44A7E0A4-CDDC-416C-AC69-00FF083A8DC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9DB17AFF-3E32-4842-B851-1F44A3300B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7A4A52D1-E196-43E8-A898-BE5460788F3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05E985F5-C685-49A8-AA2F-949F5BFF5A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DFBA3D12-4595-491A-9605-D4FFC67076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Untertitel 2">
            <a:extLst>
              <a:ext uri="{FF2B5EF4-FFF2-40B4-BE49-F238E27FC236}">
                <a16:creationId xmlns:a16="http://schemas.microsoft.com/office/drawing/2014/main" id="{95D9ACE3-4DC2-4CC4-B29C-FE051965C9A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034385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 Handy Mock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F693E912-CA16-42BD-9B13-E1115EE96111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889F97A2-ABF2-4D64-AA66-7883CE332E97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6" name="Oval 5">
              <a:extLst>
                <a:ext uri="{FF2B5EF4-FFF2-40B4-BE49-F238E27FC236}">
                  <a16:creationId xmlns:a16="http://schemas.microsoft.com/office/drawing/2014/main" id="{66F7C95D-74B4-4F5C-BBA7-91A1AB90BE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3D9B1101-3E32-4271-B4DC-D4062FF254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8" name="Gruppieren 27">
              <a:extLst>
                <a:ext uri="{FF2B5EF4-FFF2-40B4-BE49-F238E27FC236}">
                  <a16:creationId xmlns:a16="http://schemas.microsoft.com/office/drawing/2014/main" id="{9829AB22-8D52-461F-B440-26A77B86CB0D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29" name="Freeform 7">
                <a:extLst>
                  <a:ext uri="{FF2B5EF4-FFF2-40B4-BE49-F238E27FC236}">
                    <a16:creationId xmlns:a16="http://schemas.microsoft.com/office/drawing/2014/main" id="{4CF857CC-2901-4F42-9233-853B5D63AE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8">
                <a:extLst>
                  <a:ext uri="{FF2B5EF4-FFF2-40B4-BE49-F238E27FC236}">
                    <a16:creationId xmlns:a16="http://schemas.microsoft.com/office/drawing/2014/main" id="{11FE3F05-9217-42BC-80A9-AAC7E6E849E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9">
                <a:extLst>
                  <a:ext uri="{FF2B5EF4-FFF2-40B4-BE49-F238E27FC236}">
                    <a16:creationId xmlns:a16="http://schemas.microsoft.com/office/drawing/2014/main" id="{16B3B9FE-F133-438D-AD84-EC51942391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0">
                <a:extLst>
                  <a:ext uri="{FF2B5EF4-FFF2-40B4-BE49-F238E27FC236}">
                    <a16:creationId xmlns:a16="http://schemas.microsoft.com/office/drawing/2014/main" id="{8FBD55AD-9814-4F26-B91E-D2C4B92999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1">
                <a:extLst>
                  <a:ext uri="{FF2B5EF4-FFF2-40B4-BE49-F238E27FC236}">
                    <a16:creationId xmlns:a16="http://schemas.microsoft.com/office/drawing/2014/main" id="{C30F0D69-4CC1-4454-B748-72DFF851EB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2">
                <a:extLst>
                  <a:ext uri="{FF2B5EF4-FFF2-40B4-BE49-F238E27FC236}">
                    <a16:creationId xmlns:a16="http://schemas.microsoft.com/office/drawing/2014/main" id="{0AAA4B98-3BAE-4F2F-872C-6C32595267F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3">
                <a:extLst>
                  <a:ext uri="{FF2B5EF4-FFF2-40B4-BE49-F238E27FC236}">
                    <a16:creationId xmlns:a16="http://schemas.microsoft.com/office/drawing/2014/main" id="{F07DF6E7-F0CD-4ED2-87FD-6841CDC592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4">
                <a:extLst>
                  <a:ext uri="{FF2B5EF4-FFF2-40B4-BE49-F238E27FC236}">
                    <a16:creationId xmlns:a16="http://schemas.microsoft.com/office/drawing/2014/main" id="{9A456FC8-BDB6-4546-ABF9-E769BDB6F0F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5">
                <a:extLst>
                  <a:ext uri="{FF2B5EF4-FFF2-40B4-BE49-F238E27FC236}">
                    <a16:creationId xmlns:a16="http://schemas.microsoft.com/office/drawing/2014/main" id="{6C563657-972E-403C-94BC-040D3D7BAB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6">
                <a:extLst>
                  <a:ext uri="{FF2B5EF4-FFF2-40B4-BE49-F238E27FC236}">
                    <a16:creationId xmlns:a16="http://schemas.microsoft.com/office/drawing/2014/main" id="{BAFE9A3D-A61B-4444-B4F4-796B96D8ED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4" y="1592263"/>
            <a:ext cx="3672850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2EF9841-421F-4152-880D-BBF3BBD10B58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590FBA1B-1EF1-4896-9A45-2043FB18F626}" type="datetime1">
              <a:rPr lang="de-DE" smtClean="0"/>
              <a:t>2022-01-13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A86F7D5-69CA-4283-8022-108E607FC8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0EDD423B-497D-4CCF-A170-87E1DA4963E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C2346866-6A4B-4F6D-B6A3-C5F9E9CC4A34}"/>
              </a:ext>
            </a:extLst>
          </p:cNvPr>
          <p:cNvSpPr/>
          <p:nvPr/>
        </p:nvSpPr>
        <p:spPr>
          <a:xfrm>
            <a:off x="4799975" y="1873261"/>
            <a:ext cx="1451388" cy="3038279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pic>
        <p:nvPicPr>
          <p:cNvPr id="15" name="Grafik 14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A2ECC125-1D19-463D-901C-78124C185B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18932" y="1592263"/>
            <a:ext cx="2562657" cy="3970337"/>
          </a:xfrm>
          <a:prstGeom prst="rect">
            <a:avLst/>
          </a:prstGeom>
        </p:spPr>
      </p:pic>
      <p:sp>
        <p:nvSpPr>
          <p:cNvPr id="18" name="Rechteck: abgerundete Ecken 17">
            <a:extLst>
              <a:ext uri="{FF2B5EF4-FFF2-40B4-BE49-F238E27FC236}">
                <a16:creationId xmlns:a16="http://schemas.microsoft.com/office/drawing/2014/main" id="{8068B0AF-45C9-4587-80AA-5FB0C48136E6}"/>
              </a:ext>
            </a:extLst>
          </p:cNvPr>
          <p:cNvSpPr/>
          <p:nvPr/>
        </p:nvSpPr>
        <p:spPr>
          <a:xfrm>
            <a:off x="8253833" y="1873261"/>
            <a:ext cx="1451388" cy="3038279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pic>
        <p:nvPicPr>
          <p:cNvPr id="19" name="Grafik 1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4EA724CD-CCCA-40EB-9BBF-7E7FF8A98E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72790" y="1592263"/>
            <a:ext cx="2562657" cy="3970337"/>
          </a:xfrm>
          <a:prstGeom prst="rect">
            <a:avLst/>
          </a:prstGeom>
        </p:spPr>
      </p:pic>
      <p:sp>
        <p:nvSpPr>
          <p:cNvPr id="35" name="Bildplatzhalter 47">
            <a:extLst>
              <a:ext uri="{FF2B5EF4-FFF2-40B4-BE49-F238E27FC236}">
                <a16:creationId xmlns:a16="http://schemas.microsoft.com/office/drawing/2014/main" id="{491BA93E-E5F3-48AC-A3BA-B7D4CD7DBEC5}"/>
              </a:ext>
            </a:extLst>
          </p:cNvPr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5037658" y="1685897"/>
            <a:ext cx="1414752" cy="3055001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37" name="Bildplatzhalter 47">
            <a:extLst>
              <a:ext uri="{FF2B5EF4-FFF2-40B4-BE49-F238E27FC236}">
                <a16:creationId xmlns:a16="http://schemas.microsoft.com/office/drawing/2014/main" id="{574E156E-CBCD-45CF-AAC9-84D35B20AAC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8491516" y="1685897"/>
            <a:ext cx="1414752" cy="3055001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38" name="Textplatzhalter 5">
            <a:extLst>
              <a:ext uri="{FF2B5EF4-FFF2-40B4-BE49-F238E27FC236}">
                <a16:creationId xmlns:a16="http://schemas.microsoft.com/office/drawing/2014/main" id="{C0A94FD5-C278-4C7F-A805-75DA9B93B8F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943474" y="5149895"/>
            <a:ext cx="2228035" cy="412706"/>
          </a:xfrm>
        </p:spPr>
        <p:txBody>
          <a:bodyPr anchor="t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1</a:t>
            </a:r>
          </a:p>
        </p:txBody>
      </p:sp>
      <p:sp>
        <p:nvSpPr>
          <p:cNvPr id="20" name="Textplatzhalter 5">
            <a:extLst>
              <a:ext uri="{FF2B5EF4-FFF2-40B4-BE49-F238E27FC236}">
                <a16:creationId xmlns:a16="http://schemas.microsoft.com/office/drawing/2014/main" id="{5676D185-2C51-4F27-B9D6-5A1E42D749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01051" y="5149895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2</a:t>
            </a:r>
          </a:p>
        </p:txBody>
      </p:sp>
      <p:sp>
        <p:nvSpPr>
          <p:cNvPr id="21" name="Textplatzhalter 28">
            <a:extLst>
              <a:ext uri="{FF2B5EF4-FFF2-40B4-BE49-F238E27FC236}">
                <a16:creationId xmlns:a16="http://schemas.microsoft.com/office/drawing/2014/main" id="{43C8CC5A-2B84-4101-830B-BCD94185DE4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43474" y="5562601"/>
            <a:ext cx="2665414" cy="711199"/>
          </a:xfrm>
        </p:spPr>
        <p:txBody>
          <a:bodyPr anchor="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2" name="Textplatzhalter 28">
            <a:extLst>
              <a:ext uri="{FF2B5EF4-FFF2-40B4-BE49-F238E27FC236}">
                <a16:creationId xmlns:a16="http://schemas.microsoft.com/office/drawing/2014/main" id="{C3041C11-8D41-447B-B837-FF9F7E94DC8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01051" y="5562601"/>
            <a:ext cx="2665414" cy="711199"/>
          </a:xfrm>
        </p:spPr>
        <p:txBody>
          <a:bodyPr anchor="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42" name="Untertitel 2">
            <a:extLst>
              <a:ext uri="{FF2B5EF4-FFF2-40B4-BE49-F238E27FC236}">
                <a16:creationId xmlns:a16="http://schemas.microsoft.com/office/drawing/2014/main" id="{A4422F65-D8EA-46AF-A699-D91B7554C86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233917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iPad Mock Up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>
            <a:extLst>
              <a:ext uri="{FF2B5EF4-FFF2-40B4-BE49-F238E27FC236}">
                <a16:creationId xmlns:a16="http://schemas.microsoft.com/office/drawing/2014/main" id="{48A341EB-8E22-4A7D-B198-A3FE94E10FA2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 userDrawn="1"/>
        </p:nvSpPr>
        <p:spPr>
          <a:xfrm>
            <a:off x="7039363" y="883805"/>
            <a:ext cx="3838704" cy="5024482"/>
          </a:xfrm>
          <a:prstGeom prst="roundRect">
            <a:avLst>
              <a:gd name="adj" fmla="val 786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5761037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610447DE-E9B1-426F-82A5-E201443FF2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0770" t="2076" r="21396"/>
          <a:stretch/>
        </p:blipFill>
        <p:spPr>
          <a:xfrm>
            <a:off x="4943475" y="0"/>
            <a:ext cx="7248525" cy="6715642"/>
          </a:xfrm>
          <a:prstGeom prst="rect">
            <a:avLst/>
          </a:prstGeom>
        </p:spPr>
      </p:pic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034FB8A-2730-47DE-9C0C-033D8CB058B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346951" y="863600"/>
            <a:ext cx="3540124" cy="4718049"/>
          </a:xfrm>
          <a:prstGeom prst="roundRect">
            <a:avLst>
              <a:gd name="adj" fmla="val 1667"/>
            </a:avLst>
          </a:prstGeo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7176DD0E-9929-4538-ACFB-E458064BEE1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D580D0AF-5C4A-4288-A060-260637EDD761}" type="datetime1">
              <a:rPr lang="de-DE" smtClean="0"/>
              <a:t>2022-01-13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6E9E8ECA-2D12-46E2-8C00-0D84AE7CF77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C25A6720-D3C1-4E2C-85FF-10DE442AAA0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7A2607C6-B939-4A5C-89EE-3FADD9744CE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709795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iPad Mock Up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2C37800F-9453-4EDC-97E8-0481E758488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3429000 h 6858000"/>
              <a:gd name="connsiteX3" fmla="*/ 7023099 w 12192000"/>
              <a:gd name="connsiteY3" fmla="*/ 3429000 h 6858000"/>
              <a:gd name="connsiteX4" fmla="*/ 6096000 w 12192000"/>
              <a:gd name="connsiteY4" fmla="*/ 4356099 h 6858000"/>
              <a:gd name="connsiteX5" fmla="*/ 6096000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7023099" y="3429000"/>
                </a:lnTo>
                <a:cubicBezTo>
                  <a:pt x="6511076" y="3429000"/>
                  <a:pt x="6096000" y="3844076"/>
                  <a:pt x="6096000" y="4356099"/>
                </a:cubicBez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 userDrawn="1"/>
        </p:nvSpPr>
        <p:spPr>
          <a:xfrm>
            <a:off x="7039363" y="883805"/>
            <a:ext cx="3838704" cy="5024482"/>
          </a:xfrm>
          <a:prstGeom prst="roundRect">
            <a:avLst>
              <a:gd name="adj" fmla="val 786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3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610447DE-E9B1-426F-82A5-E201443FF2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7399" t="2076" r="21395"/>
          <a:stretch/>
        </p:blipFill>
        <p:spPr>
          <a:xfrm>
            <a:off x="4583113" y="0"/>
            <a:ext cx="7608887" cy="6715642"/>
          </a:xfrm>
          <a:prstGeom prst="rect">
            <a:avLst/>
          </a:prstGeom>
          <a:ln>
            <a:noFill/>
          </a:ln>
        </p:spPr>
      </p:pic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034FB8A-2730-47DE-9C0C-033D8CB058B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346951" y="863600"/>
            <a:ext cx="3540124" cy="4718049"/>
          </a:xfrm>
          <a:prstGeom prst="roundRect">
            <a:avLst>
              <a:gd name="adj" fmla="val 1667"/>
            </a:avLst>
          </a:prstGeo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EE2E0E08-E5AC-46D2-99B4-35BA98B72A2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8D5C90F1-C2C5-45E7-B5C8-F0864F61279F}" type="datetime1">
              <a:rPr lang="de-DE" smtClean="0"/>
              <a:t>2022-01-13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3D9E1DE6-5FAE-435F-8AB8-2D86709EE6F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EE4286F4-D689-4FFC-91E4-90B2645B9A9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C6753097-1DB3-419A-91AC-D5B72E871A6B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5" cy="635012"/>
          </a:xfrm>
        </p:grpSpPr>
        <p:sp>
          <p:nvSpPr>
            <p:cNvPr id="15" name="Oval 5">
              <a:extLst>
                <a:ext uri="{FF2B5EF4-FFF2-40B4-BE49-F238E27FC236}">
                  <a16:creationId xmlns:a16="http://schemas.microsoft.com/office/drawing/2014/main" id="{D9D85354-3FEE-4119-853F-1445998749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CD487532-8521-417D-A048-8C4669F44C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9BD55D0F-593D-4A0D-BDE4-5B4526B1B436}"/>
                </a:ext>
              </a:extLst>
            </p:cNvPr>
            <p:cNvGrpSpPr/>
            <p:nvPr/>
          </p:nvGrpSpPr>
          <p:grpSpPr>
            <a:xfrm>
              <a:off x="1311216" y="1530579"/>
              <a:ext cx="1533582" cy="307590"/>
              <a:chOff x="3987943" y="2307132"/>
              <a:chExt cx="2607166" cy="522910"/>
            </a:xfrm>
          </p:grpSpPr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id="{88A73487-47E1-40BC-8038-B766B67DE0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766DB691-F432-4C12-AD93-97CDBC51174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5B123C74-CC3A-4AD1-9730-E708E9E6CB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23C307AD-317D-49F1-A441-ED1F085FA2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32A47BD3-B6FB-4D5B-8877-027C93A600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9CA9328C-1744-4387-B2F3-894A3FDF23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A9FB15DC-2278-452D-9B77-04B672B950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7F9A4067-A3D0-46C1-A9A2-E06E9AE5E9D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28C6CDC7-E6AB-4633-989A-4AA770A644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E6F3B9CD-F6AE-4110-B914-353C627514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Untertitel 2">
            <a:extLst>
              <a:ext uri="{FF2B5EF4-FFF2-40B4-BE49-F238E27FC236}">
                <a16:creationId xmlns:a16="http://schemas.microsoft.com/office/drawing/2014/main" id="{CDCE67FF-8C34-4EA1-A50E-A51B7729B61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4081490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ext Handy Mock Up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79041A03-3918-4BF6-93ED-25622ED2552E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8138" y="1592263"/>
            <a:ext cx="4605338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2" name="Grafik 11" descr="Ein Bild, das Screenshot, Laptop, Monitor, Computer enthält.&#10;&#10;Automatisch generierte Beschreibung">
            <a:extLst>
              <a:ext uri="{FF2B5EF4-FFF2-40B4-BE49-F238E27FC236}">
                <a16:creationId xmlns:a16="http://schemas.microsoft.com/office/drawing/2014/main" id="{FA77D189-6797-4577-BAA8-586C620A049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9256" t="1596" r="17397" b="11922"/>
          <a:stretch/>
        </p:blipFill>
        <p:spPr>
          <a:xfrm>
            <a:off x="4664075" y="927099"/>
            <a:ext cx="7248525" cy="5930901"/>
          </a:xfrm>
          <a:prstGeom prst="rect">
            <a:avLst/>
          </a:prstGeom>
        </p:spPr>
      </p:pic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A3D237B3-D03E-4E3B-843B-878E7432337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13450" y="2308224"/>
            <a:ext cx="4924425" cy="3073401"/>
          </a:xfr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70EB910-E9BB-4098-920D-18DAC1BCAF1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CFFCF73D-4E77-4409-9E6B-D597CF1D0DEF}" type="datetime1">
              <a:rPr lang="de-DE" smtClean="0"/>
              <a:t>2022-01-1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F2F0E9D-60A9-4F53-BA09-C1D4CC7AA0F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AAA1933-32F6-413A-B222-EEFB93717F2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Untertitel 2">
            <a:extLst>
              <a:ext uri="{FF2B5EF4-FFF2-40B4-BE49-F238E27FC236}">
                <a16:creationId xmlns:a16="http://schemas.microsoft.com/office/drawing/2014/main" id="{80541407-CC33-4220-84FA-A837FAD3EE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404285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ext iPad Mock Up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reihandform: Form 23">
            <a:extLst>
              <a:ext uri="{FF2B5EF4-FFF2-40B4-BE49-F238E27FC236}">
                <a16:creationId xmlns:a16="http://schemas.microsoft.com/office/drawing/2014/main" id="{5BC63CF1-AB2D-493B-90A3-E2C49E60720A}"/>
              </a:ext>
            </a:extLst>
          </p:cNvPr>
          <p:cNvSpPr>
            <a:spLocks/>
          </p:cNvSpPr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3429000 h 6858000"/>
              <a:gd name="connsiteX3" fmla="*/ 5883844 w 12192000"/>
              <a:gd name="connsiteY3" fmla="*/ 3429000 h 6858000"/>
              <a:gd name="connsiteX4" fmla="*/ 4943475 w 12192000"/>
              <a:gd name="connsiteY4" fmla="*/ 4369369 h 6858000"/>
              <a:gd name="connsiteX5" fmla="*/ 4943475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5883844" y="3429000"/>
                </a:lnTo>
                <a:cubicBezTo>
                  <a:pt x="5364493" y="3429000"/>
                  <a:pt x="4943475" y="3850018"/>
                  <a:pt x="4943475" y="4369369"/>
                </a:cubicBezTo>
                <a:lnTo>
                  <a:pt x="494347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8" name="Freihandform: Form 27">
            <a:extLst>
              <a:ext uri="{FF2B5EF4-FFF2-40B4-BE49-F238E27FC236}">
                <a16:creationId xmlns:a16="http://schemas.microsoft.com/office/drawing/2014/main" id="{FFC1108E-D0EC-4363-BACD-E7C6405BAD95}"/>
              </a:ext>
            </a:extLst>
          </p:cNvPr>
          <p:cNvSpPr/>
          <p:nvPr userDrawn="1"/>
        </p:nvSpPr>
        <p:spPr>
          <a:xfrm flipH="1">
            <a:off x="5099343" y="3213933"/>
            <a:ext cx="7170708" cy="3748842"/>
          </a:xfrm>
          <a:custGeom>
            <a:avLst/>
            <a:gdLst>
              <a:gd name="connsiteX0" fmla="*/ 6132037 w 7170708"/>
              <a:gd name="connsiteY0" fmla="*/ 0 h 3748842"/>
              <a:gd name="connsiteX1" fmla="*/ 0 w 7170708"/>
              <a:gd name="connsiteY1" fmla="*/ 0 h 3748842"/>
              <a:gd name="connsiteX2" fmla="*/ 0 w 7170708"/>
              <a:gd name="connsiteY2" fmla="*/ 3748842 h 3748842"/>
              <a:gd name="connsiteX3" fmla="*/ 7170708 w 7170708"/>
              <a:gd name="connsiteY3" fmla="*/ 3748842 h 3748842"/>
              <a:gd name="connsiteX4" fmla="*/ 7170708 w 7170708"/>
              <a:gd name="connsiteY4" fmla="*/ 1038671 h 3748842"/>
              <a:gd name="connsiteX5" fmla="*/ 6132037 w 7170708"/>
              <a:gd name="connsiteY5" fmla="*/ 0 h 3748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170708" h="3748842">
                <a:moveTo>
                  <a:pt x="6132037" y="0"/>
                </a:moveTo>
                <a:lnTo>
                  <a:pt x="0" y="0"/>
                </a:lnTo>
                <a:lnTo>
                  <a:pt x="0" y="3748842"/>
                </a:lnTo>
                <a:lnTo>
                  <a:pt x="7170708" y="3748842"/>
                </a:lnTo>
                <a:lnTo>
                  <a:pt x="7170708" y="1038671"/>
                </a:lnTo>
                <a:cubicBezTo>
                  <a:pt x="7170708" y="465029"/>
                  <a:pt x="6705679" y="0"/>
                  <a:pt x="6132037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8138" y="1592263"/>
            <a:ext cx="4244975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7" name="Grafik 16" descr="Ein Bild, das Screenshot, Laptop, Monitor, Computer enthält.&#10;&#10;Automatisch generierte Beschreibung">
            <a:extLst>
              <a:ext uri="{FF2B5EF4-FFF2-40B4-BE49-F238E27FC236}">
                <a16:creationId xmlns:a16="http://schemas.microsoft.com/office/drawing/2014/main" id="{F975FC98-9C9A-4B54-BAA5-D026FFF13A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9256" t="1596" r="17397" b="11922"/>
          <a:stretch/>
        </p:blipFill>
        <p:spPr>
          <a:xfrm>
            <a:off x="4664075" y="927099"/>
            <a:ext cx="7248525" cy="5930901"/>
          </a:xfrm>
          <a:prstGeom prst="rect">
            <a:avLst/>
          </a:prstGeom>
        </p:spPr>
      </p:pic>
      <p:sp>
        <p:nvSpPr>
          <p:cNvPr id="18" name="Bildplatzhalter 15">
            <a:extLst>
              <a:ext uri="{FF2B5EF4-FFF2-40B4-BE49-F238E27FC236}">
                <a16:creationId xmlns:a16="http://schemas.microsoft.com/office/drawing/2014/main" id="{AFAC29CB-6258-49F1-AEFE-48C4C763D58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13450" y="2308224"/>
            <a:ext cx="4924425" cy="3073401"/>
          </a:xfr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7A6C8F5-0559-4B3D-A642-2C4638D4E8E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B34BCD2A-CD28-47D6-B671-DBE1A1DFA5AF}" type="datetime1">
              <a:rPr lang="de-DE" smtClean="0"/>
              <a:t>2022-01-1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9C13510-10A4-41C5-8ACF-EB970AA0B7A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A8607A9F-7336-4B10-9A47-B08A47C9013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9FED8C54-FAC3-4862-9B8D-DE240B68C898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5" cy="635012"/>
          </a:xfrm>
        </p:grpSpPr>
        <p:sp>
          <p:nvSpPr>
            <p:cNvPr id="12" name="Oval 5">
              <a:extLst>
                <a:ext uri="{FF2B5EF4-FFF2-40B4-BE49-F238E27FC236}">
                  <a16:creationId xmlns:a16="http://schemas.microsoft.com/office/drawing/2014/main" id="{618A242A-4252-4D1B-815B-B50970AB97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42F15D90-51AE-42BE-9523-CD3B8E3320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26A914C2-F17F-4D57-BA1C-16F80E685638}"/>
                </a:ext>
              </a:extLst>
            </p:cNvPr>
            <p:cNvGrpSpPr/>
            <p:nvPr/>
          </p:nvGrpSpPr>
          <p:grpSpPr>
            <a:xfrm>
              <a:off x="1311216" y="1530579"/>
              <a:ext cx="1533582" cy="307590"/>
              <a:chOff x="3987943" y="2307132"/>
              <a:chExt cx="2607166" cy="522910"/>
            </a:xfrm>
          </p:grpSpPr>
          <p:sp>
            <p:nvSpPr>
              <p:cNvPr id="15" name="Freeform 7">
                <a:extLst>
                  <a:ext uri="{FF2B5EF4-FFF2-40B4-BE49-F238E27FC236}">
                    <a16:creationId xmlns:a16="http://schemas.microsoft.com/office/drawing/2014/main" id="{4E7333A9-F536-43FC-ABA8-4A162CBED9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6" name="Freeform 8">
                <a:extLst>
                  <a:ext uri="{FF2B5EF4-FFF2-40B4-BE49-F238E27FC236}">
                    <a16:creationId xmlns:a16="http://schemas.microsoft.com/office/drawing/2014/main" id="{313E2420-E184-49F6-8BFA-375E9544E8C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9">
                <a:extLst>
                  <a:ext uri="{FF2B5EF4-FFF2-40B4-BE49-F238E27FC236}">
                    <a16:creationId xmlns:a16="http://schemas.microsoft.com/office/drawing/2014/main" id="{01C04114-EC10-47A0-81C9-9838F74193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0">
                <a:extLst>
                  <a:ext uri="{FF2B5EF4-FFF2-40B4-BE49-F238E27FC236}">
                    <a16:creationId xmlns:a16="http://schemas.microsoft.com/office/drawing/2014/main" id="{8643CAF3-5E79-4D28-B7EB-070C2194D4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1">
                <a:extLst>
                  <a:ext uri="{FF2B5EF4-FFF2-40B4-BE49-F238E27FC236}">
                    <a16:creationId xmlns:a16="http://schemas.microsoft.com/office/drawing/2014/main" id="{2295F6D0-883B-49BE-B001-CED3629ED5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2">
                <a:extLst>
                  <a:ext uri="{FF2B5EF4-FFF2-40B4-BE49-F238E27FC236}">
                    <a16:creationId xmlns:a16="http://schemas.microsoft.com/office/drawing/2014/main" id="{BC0F5639-ECB9-4517-8CDE-69479470C2E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3">
                <a:extLst>
                  <a:ext uri="{FF2B5EF4-FFF2-40B4-BE49-F238E27FC236}">
                    <a16:creationId xmlns:a16="http://schemas.microsoft.com/office/drawing/2014/main" id="{C159270D-DF8D-4AC3-8363-CCAC82EFE2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4">
                <a:extLst>
                  <a:ext uri="{FF2B5EF4-FFF2-40B4-BE49-F238E27FC236}">
                    <a16:creationId xmlns:a16="http://schemas.microsoft.com/office/drawing/2014/main" id="{38301C80-BCB6-4108-9076-400D64B6E53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5">
                <a:extLst>
                  <a:ext uri="{FF2B5EF4-FFF2-40B4-BE49-F238E27FC236}">
                    <a16:creationId xmlns:a16="http://schemas.microsoft.com/office/drawing/2014/main" id="{D0B10E0F-1854-4556-B36F-842D6CD836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6">
                <a:extLst>
                  <a:ext uri="{FF2B5EF4-FFF2-40B4-BE49-F238E27FC236}">
                    <a16:creationId xmlns:a16="http://schemas.microsoft.com/office/drawing/2014/main" id="{DB35A381-AE18-43BE-A680-D2E071507F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9" name="Untertitel 2">
            <a:extLst>
              <a:ext uri="{FF2B5EF4-FFF2-40B4-BE49-F238E27FC236}">
                <a16:creationId xmlns:a16="http://schemas.microsoft.com/office/drawing/2014/main" id="{021433C2-8557-4AC9-B08A-C2CF238B501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693701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 Ups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>
            <a:extLst>
              <a:ext uri="{FF2B5EF4-FFF2-40B4-BE49-F238E27FC236}">
                <a16:creationId xmlns:a16="http://schemas.microsoft.com/office/drawing/2014/main" id="{94EA1D87-17FA-4955-A24F-68104FF02187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70EB910-E9BB-4098-920D-18DAC1BCAF1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225BB7F6-A796-40E1-89A2-0964C81811A1}" type="datetime1">
              <a:rPr lang="de-DE" smtClean="0"/>
              <a:t>2022-01-1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F2F0E9D-60A9-4F53-BA09-C1D4CC7AA0F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AAA1933-32F6-413A-B222-EEFB93717F2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3" name="Grafik 12" descr="Ein Bild, das Screenshot, Laptop, Monitor, Computer enthält.&#10;&#10;Automatisch generierte Beschreibung">
            <a:extLst>
              <a:ext uri="{FF2B5EF4-FFF2-40B4-BE49-F238E27FC236}">
                <a16:creationId xmlns:a16="http://schemas.microsoft.com/office/drawing/2014/main" id="{274B7DAE-D42C-43A7-AB86-58AE8C71161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9256" t="17496" r="17397" b="11922"/>
          <a:stretch/>
        </p:blipFill>
        <p:spPr>
          <a:xfrm>
            <a:off x="603314" y="1544713"/>
            <a:ext cx="8079717" cy="5395499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4DE50EBE-0732-4A1B-8ED1-6A2DB92F9FD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2196" t="11127" r="28438"/>
          <a:stretch/>
        </p:blipFill>
        <p:spPr>
          <a:xfrm>
            <a:off x="5929809" y="2113191"/>
            <a:ext cx="5024002" cy="4827021"/>
          </a:xfrm>
          <a:prstGeom prst="rect">
            <a:avLst/>
          </a:prstGeom>
        </p:spPr>
      </p:pic>
      <p:sp>
        <p:nvSpPr>
          <p:cNvPr id="25" name="Bildplatzhalter 24">
            <a:extLst>
              <a:ext uri="{FF2B5EF4-FFF2-40B4-BE49-F238E27FC236}">
                <a16:creationId xmlns:a16="http://schemas.microsoft.com/office/drawing/2014/main" id="{BA7F5975-2F43-434A-A628-CA5A5F191F87}"/>
              </a:ext>
            </a:extLst>
          </p:cNvPr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107423" y="1868711"/>
            <a:ext cx="5489111" cy="3425829"/>
          </a:xfrm>
          <a:custGeom>
            <a:avLst/>
            <a:gdLst>
              <a:gd name="connsiteX0" fmla="*/ 0 w 5489111"/>
              <a:gd name="connsiteY0" fmla="*/ 0 h 3425829"/>
              <a:gd name="connsiteX1" fmla="*/ 5489111 w 5489111"/>
              <a:gd name="connsiteY1" fmla="*/ 0 h 3425829"/>
              <a:gd name="connsiteX2" fmla="*/ 5489111 w 5489111"/>
              <a:gd name="connsiteY2" fmla="*/ 2258813 h 3425829"/>
              <a:gd name="connsiteX3" fmla="*/ 4839123 w 5489111"/>
              <a:gd name="connsiteY3" fmla="*/ 2258788 h 3425829"/>
              <a:gd name="connsiteX4" fmla="*/ 4750322 w 5489111"/>
              <a:gd name="connsiteY4" fmla="*/ 2284867 h 3425829"/>
              <a:gd name="connsiteX5" fmla="*/ 4682035 w 5489111"/>
              <a:gd name="connsiteY5" fmla="*/ 2398573 h 3425829"/>
              <a:gd name="connsiteX6" fmla="*/ 4681617 w 5489111"/>
              <a:gd name="connsiteY6" fmla="*/ 2410092 h 3425829"/>
              <a:gd name="connsiteX7" fmla="*/ 4681599 w 5489111"/>
              <a:gd name="connsiteY7" fmla="*/ 2572763 h 3425829"/>
              <a:gd name="connsiteX8" fmla="*/ 4681599 w 5489111"/>
              <a:gd name="connsiteY8" fmla="*/ 2579897 h 3425829"/>
              <a:gd name="connsiteX9" fmla="*/ 4676100 w 5489111"/>
              <a:gd name="connsiteY9" fmla="*/ 2588768 h 3425829"/>
              <a:gd name="connsiteX10" fmla="*/ 4676142 w 5489111"/>
              <a:gd name="connsiteY10" fmla="*/ 2659787 h 3425829"/>
              <a:gd name="connsiteX11" fmla="*/ 4681095 w 5489111"/>
              <a:gd name="connsiteY11" fmla="*/ 2666770 h 3425829"/>
              <a:gd name="connsiteX12" fmla="*/ 4681095 w 5489111"/>
              <a:gd name="connsiteY12" fmla="*/ 2741680 h 3425829"/>
              <a:gd name="connsiteX13" fmla="*/ 4671996 w 5489111"/>
              <a:gd name="connsiteY13" fmla="*/ 2745494 h 3425829"/>
              <a:gd name="connsiteX14" fmla="*/ 4671996 w 5489111"/>
              <a:gd name="connsiteY14" fmla="*/ 2885114 h 3425829"/>
              <a:gd name="connsiteX15" fmla="*/ 4681174 w 5489111"/>
              <a:gd name="connsiteY15" fmla="*/ 2889262 h 3425829"/>
              <a:gd name="connsiteX16" fmla="*/ 4681174 w 5489111"/>
              <a:gd name="connsiteY16" fmla="*/ 2924571 h 3425829"/>
              <a:gd name="connsiteX17" fmla="*/ 4671996 w 5489111"/>
              <a:gd name="connsiteY17" fmla="*/ 2928815 h 3425829"/>
              <a:gd name="connsiteX18" fmla="*/ 4671996 w 5489111"/>
              <a:gd name="connsiteY18" fmla="*/ 3068437 h 3425829"/>
              <a:gd name="connsiteX19" fmla="*/ 4681599 w 5489111"/>
              <a:gd name="connsiteY19" fmla="*/ 3071891 h 3425829"/>
              <a:gd name="connsiteX20" fmla="*/ 4681599 w 5489111"/>
              <a:gd name="connsiteY20" fmla="*/ 3079742 h 3425829"/>
              <a:gd name="connsiteX21" fmla="*/ 4681532 w 5489111"/>
              <a:gd name="connsiteY21" fmla="*/ 3425829 h 3425829"/>
              <a:gd name="connsiteX22" fmla="*/ 0 w 5489111"/>
              <a:gd name="connsiteY22" fmla="*/ 3425829 h 3425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5489111" h="3425829">
                <a:moveTo>
                  <a:pt x="0" y="0"/>
                </a:moveTo>
                <a:lnTo>
                  <a:pt x="5489111" y="0"/>
                </a:lnTo>
                <a:lnTo>
                  <a:pt x="5489111" y="2258813"/>
                </a:lnTo>
                <a:lnTo>
                  <a:pt x="4839123" y="2258788"/>
                </a:lnTo>
                <a:cubicBezTo>
                  <a:pt x="4806911" y="2258782"/>
                  <a:pt x="4777017" y="2266657"/>
                  <a:pt x="4750322" y="2284867"/>
                </a:cubicBezTo>
                <a:cubicBezTo>
                  <a:pt x="4710224" y="2312222"/>
                  <a:pt x="4687553" y="2350312"/>
                  <a:pt x="4682035" y="2398573"/>
                </a:cubicBezTo>
                <a:cubicBezTo>
                  <a:pt x="4681605" y="2402380"/>
                  <a:pt x="4681617" y="2406254"/>
                  <a:pt x="4681617" y="2410092"/>
                </a:cubicBezTo>
                <a:cubicBezTo>
                  <a:pt x="4681592" y="2464315"/>
                  <a:pt x="4681599" y="2518539"/>
                  <a:pt x="4681599" y="2572763"/>
                </a:cubicBezTo>
                <a:cubicBezTo>
                  <a:pt x="4681599" y="2574979"/>
                  <a:pt x="4681599" y="2577201"/>
                  <a:pt x="4681599" y="2579897"/>
                </a:cubicBezTo>
                <a:cubicBezTo>
                  <a:pt x="4676639" y="2580856"/>
                  <a:pt x="4676063" y="2584293"/>
                  <a:pt x="4676100" y="2588768"/>
                </a:cubicBezTo>
                <a:cubicBezTo>
                  <a:pt x="4676299" y="2612437"/>
                  <a:pt x="4676245" y="2636112"/>
                  <a:pt x="4676142" y="2659787"/>
                </a:cubicBezTo>
                <a:cubicBezTo>
                  <a:pt x="4676123" y="2663448"/>
                  <a:pt x="4676767" y="2666223"/>
                  <a:pt x="4681095" y="2666770"/>
                </a:cubicBezTo>
                <a:cubicBezTo>
                  <a:pt x="4681095" y="2691993"/>
                  <a:pt x="4681095" y="2716992"/>
                  <a:pt x="4681095" y="2741680"/>
                </a:cubicBezTo>
                <a:cubicBezTo>
                  <a:pt x="4677805" y="2743059"/>
                  <a:pt x="4674904" y="2744274"/>
                  <a:pt x="4671996" y="2745494"/>
                </a:cubicBezTo>
                <a:cubicBezTo>
                  <a:pt x="4671996" y="2792037"/>
                  <a:pt x="4671996" y="2838573"/>
                  <a:pt x="4671996" y="2885114"/>
                </a:cubicBezTo>
                <a:cubicBezTo>
                  <a:pt x="4674843" y="2886402"/>
                  <a:pt x="4677690" y="2887696"/>
                  <a:pt x="4681174" y="2889262"/>
                </a:cubicBezTo>
                <a:cubicBezTo>
                  <a:pt x="4681174" y="2900684"/>
                  <a:pt x="4681174" y="2912821"/>
                  <a:pt x="4681174" y="2924571"/>
                </a:cubicBezTo>
                <a:cubicBezTo>
                  <a:pt x="4678000" y="2926041"/>
                  <a:pt x="4675000" y="2927425"/>
                  <a:pt x="4671996" y="2928815"/>
                </a:cubicBezTo>
                <a:cubicBezTo>
                  <a:pt x="4671996" y="2975358"/>
                  <a:pt x="4671996" y="3021894"/>
                  <a:pt x="4671996" y="3068437"/>
                </a:cubicBezTo>
                <a:cubicBezTo>
                  <a:pt x="4674946" y="3069499"/>
                  <a:pt x="4677902" y="3070562"/>
                  <a:pt x="4681599" y="3071891"/>
                </a:cubicBezTo>
                <a:cubicBezTo>
                  <a:pt x="4681599" y="3074150"/>
                  <a:pt x="4681599" y="3076950"/>
                  <a:pt x="4681599" y="3079742"/>
                </a:cubicBezTo>
                <a:lnTo>
                  <a:pt x="4681532" y="3425829"/>
                </a:lnTo>
                <a:lnTo>
                  <a:pt x="0" y="3425829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01B8DF7D-187D-4366-AAFF-1729A720A270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712602" y="2305552"/>
            <a:ext cx="2803684" cy="3736569"/>
          </a:xfrm>
          <a:custGeom>
            <a:avLst/>
            <a:gdLst>
              <a:gd name="connsiteX0" fmla="*/ 50578 w 2803684"/>
              <a:gd name="connsiteY0" fmla="*/ 0 h 3736569"/>
              <a:gd name="connsiteX1" fmla="*/ 2753106 w 2803684"/>
              <a:gd name="connsiteY1" fmla="*/ 0 h 3736569"/>
              <a:gd name="connsiteX2" fmla="*/ 2803684 w 2803684"/>
              <a:gd name="connsiteY2" fmla="*/ 50578 h 3736569"/>
              <a:gd name="connsiteX3" fmla="*/ 2803684 w 2803684"/>
              <a:gd name="connsiteY3" fmla="*/ 3685991 h 3736569"/>
              <a:gd name="connsiteX4" fmla="*/ 2753106 w 2803684"/>
              <a:gd name="connsiteY4" fmla="*/ 3736569 h 3736569"/>
              <a:gd name="connsiteX5" fmla="*/ 162509 w 2803684"/>
              <a:gd name="connsiteY5" fmla="*/ 3736569 h 3736569"/>
              <a:gd name="connsiteX6" fmla="*/ 162509 w 2803684"/>
              <a:gd name="connsiteY6" fmla="*/ 2607094 h 3736569"/>
              <a:gd name="connsiteX7" fmla="*/ 162509 w 2803684"/>
              <a:gd name="connsiteY7" fmla="*/ 2598290 h 3736569"/>
              <a:gd name="connsiteX8" fmla="*/ 163607 w 2803684"/>
              <a:gd name="connsiteY8" fmla="*/ 2597173 h 3736569"/>
              <a:gd name="connsiteX9" fmla="*/ 170921 w 2803684"/>
              <a:gd name="connsiteY9" fmla="*/ 2588040 h 3736569"/>
              <a:gd name="connsiteX10" fmla="*/ 170921 w 2803684"/>
              <a:gd name="connsiteY10" fmla="*/ 2317324 h 3736569"/>
              <a:gd name="connsiteX11" fmla="*/ 162502 w 2803684"/>
              <a:gd name="connsiteY11" fmla="*/ 2307008 h 3736569"/>
              <a:gd name="connsiteX12" fmla="*/ 162502 w 2803684"/>
              <a:gd name="connsiteY12" fmla="*/ 2299369 h 3736569"/>
              <a:gd name="connsiteX13" fmla="*/ 162435 w 2803684"/>
              <a:gd name="connsiteY13" fmla="*/ 1976451 h 3736569"/>
              <a:gd name="connsiteX14" fmla="*/ 116232 w 2803684"/>
              <a:gd name="connsiteY14" fmla="*/ 1866480 h 3736569"/>
              <a:gd name="connsiteX15" fmla="*/ 10999 w 2803684"/>
              <a:gd name="connsiteY15" fmla="*/ 1822020 h 3736569"/>
              <a:gd name="connsiteX16" fmla="*/ 4935 w 2803684"/>
              <a:gd name="connsiteY16" fmla="*/ 1821977 h 3736569"/>
              <a:gd name="connsiteX17" fmla="*/ 0 w 2803684"/>
              <a:gd name="connsiteY17" fmla="*/ 1821977 h 3736569"/>
              <a:gd name="connsiteX18" fmla="*/ 0 w 2803684"/>
              <a:gd name="connsiteY18" fmla="*/ 50578 h 3736569"/>
              <a:gd name="connsiteX19" fmla="*/ 50578 w 2803684"/>
              <a:gd name="connsiteY19" fmla="*/ 0 h 37365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2803684" h="3736569">
                <a:moveTo>
                  <a:pt x="50578" y="0"/>
                </a:moveTo>
                <a:lnTo>
                  <a:pt x="2753106" y="0"/>
                </a:lnTo>
                <a:cubicBezTo>
                  <a:pt x="2781039" y="0"/>
                  <a:pt x="2803684" y="22645"/>
                  <a:pt x="2803684" y="50578"/>
                </a:cubicBezTo>
                <a:lnTo>
                  <a:pt x="2803684" y="3685991"/>
                </a:lnTo>
                <a:cubicBezTo>
                  <a:pt x="2803684" y="3713924"/>
                  <a:pt x="2781039" y="3736569"/>
                  <a:pt x="2753106" y="3736569"/>
                </a:cubicBezTo>
                <a:lnTo>
                  <a:pt x="162509" y="3736569"/>
                </a:lnTo>
                <a:lnTo>
                  <a:pt x="162509" y="2607094"/>
                </a:lnTo>
                <a:cubicBezTo>
                  <a:pt x="162509" y="2604064"/>
                  <a:pt x="162509" y="2601040"/>
                  <a:pt x="162509" y="2598290"/>
                </a:cubicBezTo>
                <a:cubicBezTo>
                  <a:pt x="163048" y="2597719"/>
                  <a:pt x="163279" y="2597252"/>
                  <a:pt x="163607" y="2597173"/>
                </a:cubicBezTo>
                <a:cubicBezTo>
                  <a:pt x="170903" y="2595448"/>
                  <a:pt x="170921" y="2595460"/>
                  <a:pt x="170921" y="2588040"/>
                </a:cubicBezTo>
                <a:cubicBezTo>
                  <a:pt x="170927" y="2497804"/>
                  <a:pt x="170921" y="2407560"/>
                  <a:pt x="170921" y="2317324"/>
                </a:cubicBezTo>
                <a:cubicBezTo>
                  <a:pt x="170921" y="2309230"/>
                  <a:pt x="170909" y="2309230"/>
                  <a:pt x="162502" y="2307008"/>
                </a:cubicBezTo>
                <a:cubicBezTo>
                  <a:pt x="162502" y="2304560"/>
                  <a:pt x="162502" y="2301961"/>
                  <a:pt x="162502" y="2299369"/>
                </a:cubicBezTo>
                <a:cubicBezTo>
                  <a:pt x="162496" y="2191729"/>
                  <a:pt x="162624" y="2084090"/>
                  <a:pt x="162435" y="1976451"/>
                </a:cubicBezTo>
                <a:cubicBezTo>
                  <a:pt x="162363" y="1933485"/>
                  <a:pt x="146733" y="1896621"/>
                  <a:pt x="116232" y="1866480"/>
                </a:cubicBezTo>
                <a:cubicBezTo>
                  <a:pt x="87181" y="1837771"/>
                  <a:pt x="51752" y="1823380"/>
                  <a:pt x="10999" y="1822020"/>
                </a:cubicBezTo>
                <a:cubicBezTo>
                  <a:pt x="8978" y="1821953"/>
                  <a:pt x="6957" y="1821977"/>
                  <a:pt x="4935" y="1821977"/>
                </a:cubicBezTo>
                <a:lnTo>
                  <a:pt x="0" y="1821977"/>
                </a:lnTo>
                <a:lnTo>
                  <a:pt x="0" y="50578"/>
                </a:lnTo>
                <a:cubicBezTo>
                  <a:pt x="0" y="22645"/>
                  <a:pt x="22645" y="0"/>
                  <a:pt x="50578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pic>
        <p:nvPicPr>
          <p:cNvPr id="20" name="Grafik 19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7520ED33-6FFC-499F-AF20-DFC3D141147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21937" y="4121602"/>
            <a:ext cx="1750019" cy="2711314"/>
          </a:xfrm>
          <a:prstGeom prst="rect">
            <a:avLst/>
          </a:prstGeom>
        </p:spPr>
      </p:pic>
      <p:sp>
        <p:nvSpPr>
          <p:cNvPr id="26" name="Bildplatzhalter 47">
            <a:extLst>
              <a:ext uri="{FF2B5EF4-FFF2-40B4-BE49-F238E27FC236}">
                <a16:creationId xmlns:a16="http://schemas.microsoft.com/office/drawing/2014/main" id="{E0128E7F-A8D7-4916-93FD-7AB5101C9FD0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6849328" y="4185544"/>
            <a:ext cx="966123" cy="2086238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 sz="1000"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15" name="Untertitel 2">
            <a:extLst>
              <a:ext uri="{FF2B5EF4-FFF2-40B4-BE49-F238E27FC236}">
                <a16:creationId xmlns:a16="http://schemas.microsoft.com/office/drawing/2014/main" id="{373E5ECD-7BED-4D15-90F5-00D4CEBF839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3909307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apitel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ihandform: Form 13">
            <a:extLst>
              <a:ext uri="{FF2B5EF4-FFF2-40B4-BE49-F238E27FC236}">
                <a16:creationId xmlns:a16="http://schemas.microsoft.com/office/drawing/2014/main" id="{072AF896-135A-4A96-A537-178BCF5D84F6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0704513 w 12192000"/>
              <a:gd name="connsiteY3" fmla="*/ 6858000 h 6858000"/>
              <a:gd name="connsiteX4" fmla="*/ 10704513 w 12192000"/>
              <a:gd name="connsiteY4" fmla="*/ 2789980 h 6858000"/>
              <a:gd name="connsiteX5" fmla="*/ 9735713 w 12192000"/>
              <a:gd name="connsiteY5" fmla="*/ 1821180 h 6858000"/>
              <a:gd name="connsiteX6" fmla="*/ 0 w 12192000"/>
              <a:gd name="connsiteY6" fmla="*/ 182118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0704513" y="6858000"/>
                </a:lnTo>
                <a:lnTo>
                  <a:pt x="10704513" y="2789980"/>
                </a:lnTo>
                <a:cubicBezTo>
                  <a:pt x="10704513" y="2254927"/>
                  <a:pt x="10270766" y="1821180"/>
                  <a:pt x="9735713" y="1821180"/>
                </a:cubicBezTo>
                <a:lnTo>
                  <a:pt x="0" y="182118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FB9B356D-077B-4EA8-8CD9-172297E20735}"/>
              </a:ext>
            </a:extLst>
          </p:cNvPr>
          <p:cNvSpPr/>
          <p:nvPr/>
        </p:nvSpPr>
        <p:spPr>
          <a:xfrm>
            <a:off x="-10580" y="1603901"/>
            <a:ext cx="10892824" cy="5265737"/>
          </a:xfrm>
          <a:custGeom>
            <a:avLst/>
            <a:gdLst>
              <a:gd name="connsiteX0" fmla="*/ 0 w 10892824"/>
              <a:gd name="connsiteY0" fmla="*/ 0 h 5265737"/>
              <a:gd name="connsiteX1" fmla="*/ 9854153 w 10892824"/>
              <a:gd name="connsiteY1" fmla="*/ 0 h 5265737"/>
              <a:gd name="connsiteX2" fmla="*/ 10892824 w 10892824"/>
              <a:gd name="connsiteY2" fmla="*/ 1038671 h 5265737"/>
              <a:gd name="connsiteX3" fmla="*/ 10892824 w 10892824"/>
              <a:gd name="connsiteY3" fmla="*/ 5265737 h 5265737"/>
              <a:gd name="connsiteX4" fmla="*/ 0 w 10892824"/>
              <a:gd name="connsiteY4" fmla="*/ 5265737 h 5265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892824" h="5265737">
                <a:moveTo>
                  <a:pt x="0" y="0"/>
                </a:moveTo>
                <a:lnTo>
                  <a:pt x="9854153" y="0"/>
                </a:lnTo>
                <a:cubicBezTo>
                  <a:pt x="10427795" y="0"/>
                  <a:pt x="10892824" y="465029"/>
                  <a:pt x="10892824" y="1038671"/>
                </a:cubicBezTo>
                <a:lnTo>
                  <a:pt x="10892824" y="5265737"/>
                </a:lnTo>
                <a:lnTo>
                  <a:pt x="0" y="5265737"/>
                </a:ln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CF693C21-4507-4F3E-81F3-C5129BC124FB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0" name="Oval 5">
              <a:extLst>
                <a:ext uri="{FF2B5EF4-FFF2-40B4-BE49-F238E27FC236}">
                  <a16:creationId xmlns:a16="http://schemas.microsoft.com/office/drawing/2014/main" id="{9C338AFF-E703-4949-85EC-CB4644EB8B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id="{252C4243-738B-4049-BDED-CD4B6AA6E6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2" name="Gruppieren 21">
              <a:extLst>
                <a:ext uri="{FF2B5EF4-FFF2-40B4-BE49-F238E27FC236}">
                  <a16:creationId xmlns:a16="http://schemas.microsoft.com/office/drawing/2014/main" id="{5CF87B07-4289-49FF-9D93-5E50076EA829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23" name="Freeform 7">
                <a:extLst>
                  <a:ext uri="{FF2B5EF4-FFF2-40B4-BE49-F238E27FC236}">
                    <a16:creationId xmlns:a16="http://schemas.microsoft.com/office/drawing/2014/main" id="{0B6C66D2-26E8-4D8C-B008-A5821EDA65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8">
                <a:extLst>
                  <a:ext uri="{FF2B5EF4-FFF2-40B4-BE49-F238E27FC236}">
                    <a16:creationId xmlns:a16="http://schemas.microsoft.com/office/drawing/2014/main" id="{2E3DC62B-3FCB-4F68-BE4D-EE46C674CF4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9">
                <a:extLst>
                  <a:ext uri="{FF2B5EF4-FFF2-40B4-BE49-F238E27FC236}">
                    <a16:creationId xmlns:a16="http://schemas.microsoft.com/office/drawing/2014/main" id="{051A77AC-8B30-43FC-8D49-FE6CFBBF28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0">
                <a:extLst>
                  <a:ext uri="{FF2B5EF4-FFF2-40B4-BE49-F238E27FC236}">
                    <a16:creationId xmlns:a16="http://schemas.microsoft.com/office/drawing/2014/main" id="{36558BEF-9E49-44A2-91FA-86FF532E46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1">
                <a:extLst>
                  <a:ext uri="{FF2B5EF4-FFF2-40B4-BE49-F238E27FC236}">
                    <a16:creationId xmlns:a16="http://schemas.microsoft.com/office/drawing/2014/main" id="{8E243C08-9029-4757-B58F-2B10ED5ED7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2">
                <a:extLst>
                  <a:ext uri="{FF2B5EF4-FFF2-40B4-BE49-F238E27FC236}">
                    <a16:creationId xmlns:a16="http://schemas.microsoft.com/office/drawing/2014/main" id="{551DA8B8-ABFE-424A-915B-1F8F10DC4C8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3">
                <a:extLst>
                  <a:ext uri="{FF2B5EF4-FFF2-40B4-BE49-F238E27FC236}">
                    <a16:creationId xmlns:a16="http://schemas.microsoft.com/office/drawing/2014/main" id="{BE56415D-81F1-4E23-80F6-F742A96E6B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4">
                <a:extLst>
                  <a:ext uri="{FF2B5EF4-FFF2-40B4-BE49-F238E27FC236}">
                    <a16:creationId xmlns:a16="http://schemas.microsoft.com/office/drawing/2014/main" id="{0F7D23C0-88E4-43F4-AF63-A90A4D971A9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5">
                <a:extLst>
                  <a:ext uri="{FF2B5EF4-FFF2-40B4-BE49-F238E27FC236}">
                    <a16:creationId xmlns:a16="http://schemas.microsoft.com/office/drawing/2014/main" id="{8104E26D-3B4A-471C-811A-D9D06E67E7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16">
                <a:extLst>
                  <a:ext uri="{FF2B5EF4-FFF2-40B4-BE49-F238E27FC236}">
                    <a16:creationId xmlns:a16="http://schemas.microsoft.com/office/drawing/2014/main" id="{CB8C91E4-CA6C-4E38-B0E9-648EC3A011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EDF9A70-399E-4529-A7DB-A038CFBA646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160919" y="7025133"/>
            <a:ext cx="457993" cy="101671"/>
          </a:xfrm>
        </p:spPr>
        <p:txBody>
          <a:bodyPr/>
          <a:lstStyle/>
          <a:p>
            <a:pPr algn="r"/>
            <a:fld id="{3C327EE7-B434-41C5-9A16-0111AF53FAD1}" type="datetime1">
              <a:rPr lang="de-DE" smtClean="0"/>
              <a:t>2022-01-1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34C1970-862A-40A2-A410-8A18C19CA5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401051" y="7025133"/>
            <a:ext cx="2522534" cy="101671"/>
          </a:xfrm>
        </p:spPr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F3A8B34-701D-49AF-8DAE-5BB05BEE9C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25538" y="7025133"/>
            <a:ext cx="191824" cy="101671"/>
          </a:xfrm>
        </p:spPr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BC69060B-162B-4C5C-A91D-870BEA45C8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7" y="3429000"/>
            <a:ext cx="6121401" cy="1836738"/>
          </a:xfr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  <a:lvl2pPr>
              <a:defRPr sz="4000">
                <a:solidFill>
                  <a:schemeClr val="bg1"/>
                </a:solidFill>
              </a:defRPr>
            </a:lvl2pPr>
            <a:lvl3pPr>
              <a:defRPr sz="4000">
                <a:solidFill>
                  <a:schemeClr val="bg1"/>
                </a:solidFill>
              </a:defRPr>
            </a:lvl3pPr>
            <a:lvl4pPr>
              <a:defRPr sz="4000">
                <a:solidFill>
                  <a:schemeClr val="bg1"/>
                </a:solidFill>
              </a:defRPr>
            </a:lvl4pPr>
            <a:lvl5pPr>
              <a:defRPr sz="4000">
                <a:solidFill>
                  <a:schemeClr val="bg1"/>
                </a:solidFill>
              </a:defRPr>
            </a:lvl5pPr>
            <a:lvl6pPr>
              <a:defRPr sz="4000">
                <a:solidFill>
                  <a:schemeClr val="bg1"/>
                </a:solidFill>
              </a:defRPr>
            </a:lvl6pPr>
            <a:lvl7pPr>
              <a:defRPr sz="4000">
                <a:solidFill>
                  <a:schemeClr val="bg1"/>
                </a:solidFill>
              </a:defRPr>
            </a:lvl7pPr>
            <a:lvl8pPr>
              <a:defRPr sz="4000">
                <a:solidFill>
                  <a:schemeClr val="bg1"/>
                </a:solidFill>
              </a:defRPr>
            </a:lvl8pPr>
            <a:lvl9pPr>
              <a:defRPr sz="40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itel für das nächste Kapitel bitte hier einfügen</a:t>
            </a:r>
          </a:p>
        </p:txBody>
      </p:sp>
      <p:sp>
        <p:nvSpPr>
          <p:cNvPr id="28" name="Untertitel 2">
            <a:extLst>
              <a:ext uri="{FF2B5EF4-FFF2-40B4-BE49-F238E27FC236}">
                <a16:creationId xmlns:a16="http://schemas.microsoft.com/office/drawing/2014/main" id="{0BF02A1A-5FD3-421F-9323-46435A7BCD7F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1487487" y="5265738"/>
            <a:ext cx="6121401" cy="1225995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solidFill>
                  <a:schemeClr val="bg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5pPr>
            <a:lvl6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6pPr>
            <a:lvl7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7pPr>
            <a:lvl8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8pPr>
            <a:lvl9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75598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lde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496294BF-D3D0-4802-AC90-6B34E21A471A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2C40E76C-945F-4CFF-AF64-9F4AFBE031EE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DC92EF49-6770-4821-85BD-6B58BC2A37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F36EF048-6182-46E6-8FD1-9B53FFDF399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D131AAE3-7275-45DF-A769-EAF56E6801CA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5E1A07C7-D4A9-4D9C-BF1E-2F347913A4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8">
                <a:extLst>
                  <a:ext uri="{FF2B5EF4-FFF2-40B4-BE49-F238E27FC236}">
                    <a16:creationId xmlns:a16="http://schemas.microsoft.com/office/drawing/2014/main" id="{5FE140FB-ECB4-439D-BF7A-348D7592C41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9">
                <a:extLst>
                  <a:ext uri="{FF2B5EF4-FFF2-40B4-BE49-F238E27FC236}">
                    <a16:creationId xmlns:a16="http://schemas.microsoft.com/office/drawing/2014/main" id="{4AD64196-CF34-4AD0-A16E-5539B10016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0">
                <a:extLst>
                  <a:ext uri="{FF2B5EF4-FFF2-40B4-BE49-F238E27FC236}">
                    <a16:creationId xmlns:a16="http://schemas.microsoft.com/office/drawing/2014/main" id="{F414E838-E68E-4F8F-9508-065C7A4E81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1">
                <a:extLst>
                  <a:ext uri="{FF2B5EF4-FFF2-40B4-BE49-F238E27FC236}">
                    <a16:creationId xmlns:a16="http://schemas.microsoft.com/office/drawing/2014/main" id="{50B37B52-58A7-4290-B58A-6D0AD767A2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9" name="Freeform 12">
                <a:extLst>
                  <a:ext uri="{FF2B5EF4-FFF2-40B4-BE49-F238E27FC236}">
                    <a16:creationId xmlns:a16="http://schemas.microsoft.com/office/drawing/2014/main" id="{09B8253D-2FF1-4631-B01A-1BB370558AE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3">
                <a:extLst>
                  <a:ext uri="{FF2B5EF4-FFF2-40B4-BE49-F238E27FC236}">
                    <a16:creationId xmlns:a16="http://schemas.microsoft.com/office/drawing/2014/main" id="{A56A50CE-D116-4E3D-9F9C-6B4A7A9BD1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4">
                <a:extLst>
                  <a:ext uri="{FF2B5EF4-FFF2-40B4-BE49-F238E27FC236}">
                    <a16:creationId xmlns:a16="http://schemas.microsoft.com/office/drawing/2014/main" id="{1E1E3BA3-3D65-4AEE-89A2-7A24EE545D5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5">
                <a:extLst>
                  <a:ext uri="{FF2B5EF4-FFF2-40B4-BE49-F238E27FC236}">
                    <a16:creationId xmlns:a16="http://schemas.microsoft.com/office/drawing/2014/main" id="{CEBC7267-459F-46CB-9686-DC9EC33EA1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6">
                <a:extLst>
                  <a:ext uri="{FF2B5EF4-FFF2-40B4-BE49-F238E27FC236}">
                    <a16:creationId xmlns:a16="http://schemas.microsoft.com/office/drawing/2014/main" id="{FB993FA4-CFC5-4837-A96F-50FD90CAC3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487488" y="1592263"/>
            <a:ext cx="3821114" cy="2960687"/>
          </a:xfrm>
          <a:prstGeom prst="round2SameRect">
            <a:avLst>
              <a:gd name="adj1" fmla="val 10554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1" name="Bildplatzhalter 40">
            <a:extLst>
              <a:ext uri="{FF2B5EF4-FFF2-40B4-BE49-F238E27FC236}">
                <a16:creationId xmlns:a16="http://schemas.microsoft.com/office/drawing/2014/main" id="{1E250036-7D62-4114-A92A-3112FF8860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6883399" y="1592263"/>
            <a:ext cx="3821114" cy="2960687"/>
          </a:xfrm>
          <a:prstGeom prst="round2SameRect">
            <a:avLst>
              <a:gd name="adj1" fmla="val 10554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9AEC450-8DAE-4E70-AD4D-356D0443C963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 algn="r"/>
            <a:fld id="{8CE7063C-CC73-46DD-9E93-46FC2D373FBB}" type="datetime1">
              <a:rPr lang="de-DE" smtClean="0"/>
              <a:t>2022-01-1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E236985-8E22-4FFB-AFEF-C6A5AC20472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72AF24B-2DDF-4827-A36F-31975804BAE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7" name="Textplatzhalter 5">
            <a:extLst>
              <a:ext uri="{FF2B5EF4-FFF2-40B4-BE49-F238E27FC236}">
                <a16:creationId xmlns:a16="http://schemas.microsoft.com/office/drawing/2014/main" id="{847B9E13-3744-40A3-A85C-84015DF9DFA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487488" y="4853032"/>
            <a:ext cx="3821114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1</a:t>
            </a:r>
          </a:p>
        </p:txBody>
      </p:sp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AE328B77-E9BB-42BD-AEA3-064C0C6E30D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883399" y="4853032"/>
            <a:ext cx="3821114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2</a:t>
            </a:r>
          </a:p>
        </p:txBody>
      </p:sp>
      <p:sp>
        <p:nvSpPr>
          <p:cNvPr id="14" name="Textplatzhalter 28">
            <a:extLst>
              <a:ext uri="{FF2B5EF4-FFF2-40B4-BE49-F238E27FC236}">
                <a16:creationId xmlns:a16="http://schemas.microsoft.com/office/drawing/2014/main" id="{6B8CED60-7D19-4349-BF76-DCB0CAE8F172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1487488" y="5265738"/>
            <a:ext cx="3821114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platzhalter 28">
            <a:extLst>
              <a:ext uri="{FF2B5EF4-FFF2-40B4-BE49-F238E27FC236}">
                <a16:creationId xmlns:a16="http://schemas.microsoft.com/office/drawing/2014/main" id="{B349CDDB-B0BE-4223-93D7-5E44317803C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883399" y="5265738"/>
            <a:ext cx="3821114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4" name="Untertitel 2">
            <a:extLst>
              <a:ext uri="{FF2B5EF4-FFF2-40B4-BE49-F238E27FC236}">
                <a16:creationId xmlns:a16="http://schemas.microsoft.com/office/drawing/2014/main" id="{B3FBE115-0132-47D3-9CA6-E3974709BA1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3003910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lde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FD7AA177-9107-4D8D-9F97-1CDC2E86A4A7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2B4F717E-0C12-479E-8553-1DE225BA4CE3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7" name="Oval 5">
              <a:extLst>
                <a:ext uri="{FF2B5EF4-FFF2-40B4-BE49-F238E27FC236}">
                  <a16:creationId xmlns:a16="http://schemas.microsoft.com/office/drawing/2014/main" id="{F5645894-B5F9-45B1-A40B-B3AD39B1C7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8" name="Freeform 6">
              <a:extLst>
                <a:ext uri="{FF2B5EF4-FFF2-40B4-BE49-F238E27FC236}">
                  <a16:creationId xmlns:a16="http://schemas.microsoft.com/office/drawing/2014/main" id="{C8E2313B-3F49-4183-945F-97BA2EC06B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9" name="Gruppieren 28">
              <a:extLst>
                <a:ext uri="{FF2B5EF4-FFF2-40B4-BE49-F238E27FC236}">
                  <a16:creationId xmlns:a16="http://schemas.microsoft.com/office/drawing/2014/main" id="{3B6A391F-4FE1-47A0-B9BE-2920F1ED3D1C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30" name="Freeform 7">
                <a:extLst>
                  <a:ext uri="{FF2B5EF4-FFF2-40B4-BE49-F238E27FC236}">
                    <a16:creationId xmlns:a16="http://schemas.microsoft.com/office/drawing/2014/main" id="{26127AE2-ABCB-4715-985A-7CA177F904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8">
                <a:extLst>
                  <a:ext uri="{FF2B5EF4-FFF2-40B4-BE49-F238E27FC236}">
                    <a16:creationId xmlns:a16="http://schemas.microsoft.com/office/drawing/2014/main" id="{47B751FB-ED4E-40F8-B3E1-8245EB4CB92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9">
                <a:extLst>
                  <a:ext uri="{FF2B5EF4-FFF2-40B4-BE49-F238E27FC236}">
                    <a16:creationId xmlns:a16="http://schemas.microsoft.com/office/drawing/2014/main" id="{202E4F70-0E90-4670-9460-1C780E817E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0">
                <a:extLst>
                  <a:ext uri="{FF2B5EF4-FFF2-40B4-BE49-F238E27FC236}">
                    <a16:creationId xmlns:a16="http://schemas.microsoft.com/office/drawing/2014/main" id="{E5FDADB1-A503-4639-9E3B-1381DFE4D7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1">
                <a:extLst>
                  <a:ext uri="{FF2B5EF4-FFF2-40B4-BE49-F238E27FC236}">
                    <a16:creationId xmlns:a16="http://schemas.microsoft.com/office/drawing/2014/main" id="{33443494-539D-49EE-9E6B-5E23AD7F81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12">
                <a:extLst>
                  <a:ext uri="{FF2B5EF4-FFF2-40B4-BE49-F238E27FC236}">
                    <a16:creationId xmlns:a16="http://schemas.microsoft.com/office/drawing/2014/main" id="{30065938-87C5-41B9-BA6F-8CFD0951766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3">
                <a:extLst>
                  <a:ext uri="{FF2B5EF4-FFF2-40B4-BE49-F238E27FC236}">
                    <a16:creationId xmlns:a16="http://schemas.microsoft.com/office/drawing/2014/main" id="{FC291407-C501-454B-A8EE-7CAC0EBF29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4">
                <a:extLst>
                  <a:ext uri="{FF2B5EF4-FFF2-40B4-BE49-F238E27FC236}">
                    <a16:creationId xmlns:a16="http://schemas.microsoft.com/office/drawing/2014/main" id="{95E6D4F2-3255-40E5-A13F-91246F7BCE2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5">
                <a:extLst>
                  <a:ext uri="{FF2B5EF4-FFF2-40B4-BE49-F238E27FC236}">
                    <a16:creationId xmlns:a16="http://schemas.microsoft.com/office/drawing/2014/main" id="{444BCF27-B343-42A9-9DCA-E33BAC3C23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6">
                <a:extLst>
                  <a:ext uri="{FF2B5EF4-FFF2-40B4-BE49-F238E27FC236}">
                    <a16:creationId xmlns:a16="http://schemas.microsoft.com/office/drawing/2014/main" id="{3CC4F76B-36A1-4B25-9B0A-2D354D2305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762000" y="1592263"/>
            <a:ext cx="3025775" cy="2960687"/>
          </a:xfrm>
          <a:custGeom>
            <a:avLst/>
            <a:gdLst>
              <a:gd name="connsiteX0" fmla="*/ 309333 w 3025775"/>
              <a:gd name="connsiteY0" fmla="*/ 0 h 2960687"/>
              <a:gd name="connsiteX1" fmla="*/ 2716442 w 3025775"/>
              <a:gd name="connsiteY1" fmla="*/ 0 h 2960687"/>
              <a:gd name="connsiteX2" fmla="*/ 3025775 w 3025775"/>
              <a:gd name="connsiteY2" fmla="*/ 309333 h 2960687"/>
              <a:gd name="connsiteX3" fmla="*/ 3025775 w 3025775"/>
              <a:gd name="connsiteY3" fmla="*/ 2960687 h 2960687"/>
              <a:gd name="connsiteX4" fmla="*/ 0 w 3025775"/>
              <a:gd name="connsiteY4" fmla="*/ 2960687 h 2960687"/>
              <a:gd name="connsiteX5" fmla="*/ 0 w 3025775"/>
              <a:gd name="connsiteY5" fmla="*/ 309333 h 2960687"/>
              <a:gd name="connsiteX6" fmla="*/ 309333 w 3025775"/>
              <a:gd name="connsiteY6" fmla="*/ 0 h 2960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25775" h="2960687">
                <a:moveTo>
                  <a:pt x="309333" y="0"/>
                </a:moveTo>
                <a:lnTo>
                  <a:pt x="2716442" y="0"/>
                </a:lnTo>
                <a:cubicBezTo>
                  <a:pt x="2887282" y="0"/>
                  <a:pt x="3025775" y="138493"/>
                  <a:pt x="3025775" y="309333"/>
                </a:cubicBezTo>
                <a:lnTo>
                  <a:pt x="3025775" y="2960687"/>
                </a:lnTo>
                <a:lnTo>
                  <a:pt x="0" y="2960687"/>
                </a:lnTo>
                <a:lnTo>
                  <a:pt x="0" y="309333"/>
                </a:lnTo>
                <a:cubicBezTo>
                  <a:pt x="0" y="138493"/>
                  <a:pt x="138493" y="0"/>
                  <a:pt x="309333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F93A7B41-6D62-4864-8FFA-1765074A406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4583112" y="1592263"/>
            <a:ext cx="3025775" cy="2960687"/>
          </a:xfrm>
          <a:custGeom>
            <a:avLst/>
            <a:gdLst>
              <a:gd name="connsiteX0" fmla="*/ 309333 w 3025775"/>
              <a:gd name="connsiteY0" fmla="*/ 0 h 2960687"/>
              <a:gd name="connsiteX1" fmla="*/ 2716442 w 3025775"/>
              <a:gd name="connsiteY1" fmla="*/ 0 h 2960687"/>
              <a:gd name="connsiteX2" fmla="*/ 3025775 w 3025775"/>
              <a:gd name="connsiteY2" fmla="*/ 309333 h 2960687"/>
              <a:gd name="connsiteX3" fmla="*/ 3025775 w 3025775"/>
              <a:gd name="connsiteY3" fmla="*/ 2960687 h 2960687"/>
              <a:gd name="connsiteX4" fmla="*/ 0 w 3025775"/>
              <a:gd name="connsiteY4" fmla="*/ 2960687 h 2960687"/>
              <a:gd name="connsiteX5" fmla="*/ 0 w 3025775"/>
              <a:gd name="connsiteY5" fmla="*/ 309333 h 2960687"/>
              <a:gd name="connsiteX6" fmla="*/ 309333 w 3025775"/>
              <a:gd name="connsiteY6" fmla="*/ 0 h 2960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25775" h="2960687">
                <a:moveTo>
                  <a:pt x="309333" y="0"/>
                </a:moveTo>
                <a:lnTo>
                  <a:pt x="2716442" y="0"/>
                </a:lnTo>
                <a:cubicBezTo>
                  <a:pt x="2887282" y="0"/>
                  <a:pt x="3025775" y="138493"/>
                  <a:pt x="3025775" y="309333"/>
                </a:cubicBezTo>
                <a:lnTo>
                  <a:pt x="3025775" y="2960687"/>
                </a:lnTo>
                <a:lnTo>
                  <a:pt x="0" y="2960687"/>
                </a:lnTo>
                <a:lnTo>
                  <a:pt x="0" y="309333"/>
                </a:lnTo>
                <a:cubicBezTo>
                  <a:pt x="0" y="138493"/>
                  <a:pt x="138493" y="0"/>
                  <a:pt x="309333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2" name="Bildplatzhalter 21">
            <a:extLst>
              <a:ext uri="{FF2B5EF4-FFF2-40B4-BE49-F238E27FC236}">
                <a16:creationId xmlns:a16="http://schemas.microsoft.com/office/drawing/2014/main" id="{F8EA52FF-4D6F-4786-948F-F5BBA46C445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8401050" y="1592263"/>
            <a:ext cx="3025775" cy="2960687"/>
          </a:xfrm>
          <a:custGeom>
            <a:avLst/>
            <a:gdLst>
              <a:gd name="connsiteX0" fmla="*/ 309333 w 3025775"/>
              <a:gd name="connsiteY0" fmla="*/ 0 h 2960687"/>
              <a:gd name="connsiteX1" fmla="*/ 2716442 w 3025775"/>
              <a:gd name="connsiteY1" fmla="*/ 0 h 2960687"/>
              <a:gd name="connsiteX2" fmla="*/ 3025775 w 3025775"/>
              <a:gd name="connsiteY2" fmla="*/ 309333 h 2960687"/>
              <a:gd name="connsiteX3" fmla="*/ 3025775 w 3025775"/>
              <a:gd name="connsiteY3" fmla="*/ 2960687 h 2960687"/>
              <a:gd name="connsiteX4" fmla="*/ 0 w 3025775"/>
              <a:gd name="connsiteY4" fmla="*/ 2960687 h 2960687"/>
              <a:gd name="connsiteX5" fmla="*/ 0 w 3025775"/>
              <a:gd name="connsiteY5" fmla="*/ 309333 h 2960687"/>
              <a:gd name="connsiteX6" fmla="*/ 309333 w 3025775"/>
              <a:gd name="connsiteY6" fmla="*/ 0 h 2960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25775" h="2960687">
                <a:moveTo>
                  <a:pt x="309333" y="0"/>
                </a:moveTo>
                <a:lnTo>
                  <a:pt x="2716442" y="0"/>
                </a:lnTo>
                <a:cubicBezTo>
                  <a:pt x="2887282" y="0"/>
                  <a:pt x="3025775" y="138493"/>
                  <a:pt x="3025775" y="309333"/>
                </a:cubicBezTo>
                <a:lnTo>
                  <a:pt x="3025775" y="2960687"/>
                </a:lnTo>
                <a:lnTo>
                  <a:pt x="0" y="2960687"/>
                </a:lnTo>
                <a:lnTo>
                  <a:pt x="0" y="309333"/>
                </a:lnTo>
                <a:cubicBezTo>
                  <a:pt x="0" y="138493"/>
                  <a:pt x="138493" y="0"/>
                  <a:pt x="309333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25FF0B9-EDF2-4882-8704-4545C832A928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 algn="r"/>
            <a:fld id="{CED77AE8-6F5F-4F8A-BC48-FECCC0EBE021}" type="datetime1">
              <a:rPr lang="de-DE" smtClean="0"/>
              <a:t>2022-01-1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C8D8104-D8B2-4D95-A5F6-12F39DCDEF9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29D6E93-7F18-4FF1-9F28-312A4EDB5789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BFF5B44-121A-4367-B6E2-03918ADA9A5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62000" y="4853032"/>
            <a:ext cx="302577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16" name="Textplatzhalter 8">
            <a:extLst>
              <a:ext uri="{FF2B5EF4-FFF2-40B4-BE49-F238E27FC236}">
                <a16:creationId xmlns:a16="http://schemas.microsoft.com/office/drawing/2014/main" id="{00AAE0B7-896C-497B-B63C-A6AFD3696A2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583112" y="4853032"/>
            <a:ext cx="302577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17" name="Textplatzhalter 8">
            <a:extLst>
              <a:ext uri="{FF2B5EF4-FFF2-40B4-BE49-F238E27FC236}">
                <a16:creationId xmlns:a16="http://schemas.microsoft.com/office/drawing/2014/main" id="{FFA68F9C-9D74-44BD-A0C6-ABA5E620C98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01050" y="4853032"/>
            <a:ext cx="302577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18" name="Textplatzhalter 28">
            <a:extLst>
              <a:ext uri="{FF2B5EF4-FFF2-40B4-BE49-F238E27FC236}">
                <a16:creationId xmlns:a16="http://schemas.microsoft.com/office/drawing/2014/main" id="{3D06BD6F-9548-4E4A-9622-73B7940AF3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62000" y="5265738"/>
            <a:ext cx="302577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Textplatzhalter 28">
            <a:extLst>
              <a:ext uri="{FF2B5EF4-FFF2-40B4-BE49-F238E27FC236}">
                <a16:creationId xmlns:a16="http://schemas.microsoft.com/office/drawing/2014/main" id="{92F70558-BDEB-4EDA-96DC-F9F377A901CF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583112" y="5265738"/>
            <a:ext cx="302577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Textplatzhalter 28">
            <a:extLst>
              <a:ext uri="{FF2B5EF4-FFF2-40B4-BE49-F238E27FC236}">
                <a16:creationId xmlns:a16="http://schemas.microsoft.com/office/drawing/2014/main" id="{A4EEBFB5-31AF-44B0-B449-C6569322919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401050" y="5265738"/>
            <a:ext cx="302577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0" name="Untertitel 2">
            <a:extLst>
              <a:ext uri="{FF2B5EF4-FFF2-40B4-BE49-F238E27FC236}">
                <a16:creationId xmlns:a16="http://schemas.microsoft.com/office/drawing/2014/main" id="{0621D818-0EAB-4439-9B91-D7BD6EEC3EA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683392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ilde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7E8CB8E4-FB84-4648-8735-CB7CC4E6C6DE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FABE9D84-609D-4A0B-9FE3-6E2E3C22590F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7" name="Oval 5">
              <a:extLst>
                <a:ext uri="{FF2B5EF4-FFF2-40B4-BE49-F238E27FC236}">
                  <a16:creationId xmlns:a16="http://schemas.microsoft.com/office/drawing/2014/main" id="{8AB12F9D-2FCF-463F-8048-C6B1518CAC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8" name="Freeform 6">
              <a:extLst>
                <a:ext uri="{FF2B5EF4-FFF2-40B4-BE49-F238E27FC236}">
                  <a16:creationId xmlns:a16="http://schemas.microsoft.com/office/drawing/2014/main" id="{FB2B76A1-114C-433B-8012-C92676EEF8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F0EA9399-9BE8-41AF-8045-D0420265E7A7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37" name="Freeform 7">
                <a:extLst>
                  <a:ext uri="{FF2B5EF4-FFF2-40B4-BE49-F238E27FC236}">
                    <a16:creationId xmlns:a16="http://schemas.microsoft.com/office/drawing/2014/main" id="{C0705B63-CDD9-4B98-BBB9-129890734C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8">
                <a:extLst>
                  <a:ext uri="{FF2B5EF4-FFF2-40B4-BE49-F238E27FC236}">
                    <a16:creationId xmlns:a16="http://schemas.microsoft.com/office/drawing/2014/main" id="{37873C95-B4B9-4D3F-8F2B-1F7E9CDD8D9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9">
                <a:extLst>
                  <a:ext uri="{FF2B5EF4-FFF2-40B4-BE49-F238E27FC236}">
                    <a16:creationId xmlns:a16="http://schemas.microsoft.com/office/drawing/2014/main" id="{DEDCFF11-F37C-4A97-9525-49EC385828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0">
                <a:extLst>
                  <a:ext uri="{FF2B5EF4-FFF2-40B4-BE49-F238E27FC236}">
                    <a16:creationId xmlns:a16="http://schemas.microsoft.com/office/drawing/2014/main" id="{FA6D5E4F-AB2E-44B6-B403-C2E671EBA2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1">
                <a:extLst>
                  <a:ext uri="{FF2B5EF4-FFF2-40B4-BE49-F238E27FC236}">
                    <a16:creationId xmlns:a16="http://schemas.microsoft.com/office/drawing/2014/main" id="{9A77CCC4-C472-4018-B101-78E437AADF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2">
                <a:extLst>
                  <a:ext uri="{FF2B5EF4-FFF2-40B4-BE49-F238E27FC236}">
                    <a16:creationId xmlns:a16="http://schemas.microsoft.com/office/drawing/2014/main" id="{101B07C3-A05E-4452-95C3-A224310903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3" name="Freeform 13">
                <a:extLst>
                  <a:ext uri="{FF2B5EF4-FFF2-40B4-BE49-F238E27FC236}">
                    <a16:creationId xmlns:a16="http://schemas.microsoft.com/office/drawing/2014/main" id="{BD34AE42-2F7D-497A-BC97-5CBC48123F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4" name="Freeform 14">
                <a:extLst>
                  <a:ext uri="{FF2B5EF4-FFF2-40B4-BE49-F238E27FC236}">
                    <a16:creationId xmlns:a16="http://schemas.microsoft.com/office/drawing/2014/main" id="{DAA2AC69-85F7-4098-89C0-B43D8A77CA7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5" name="Freeform 15">
                <a:extLst>
                  <a:ext uri="{FF2B5EF4-FFF2-40B4-BE49-F238E27FC236}">
                    <a16:creationId xmlns:a16="http://schemas.microsoft.com/office/drawing/2014/main" id="{F3A06AD5-31F8-4D18-8639-A476D2C033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6" name="Freeform 16">
                <a:extLst>
                  <a:ext uri="{FF2B5EF4-FFF2-40B4-BE49-F238E27FC236}">
                    <a16:creationId xmlns:a16="http://schemas.microsoft.com/office/drawing/2014/main" id="{6AF5945C-C038-4B9C-9AC1-783433F96C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0543800-777F-4A36-8003-A058D04E62D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 algn="r"/>
            <a:fld id="{FDA6D87E-33B9-4F2D-8D38-EB6953B15EBA}" type="datetime1">
              <a:rPr lang="de-DE" smtClean="0"/>
              <a:t>2022-01-1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170F859-33A7-427E-A5C9-27FEA21869B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59A9547-691C-4948-A8E5-C71CA5968B44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DC65F5F3-5F25-49DD-9082-C7A05680F31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62000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29" name="Textplatzhalter 8">
            <a:extLst>
              <a:ext uri="{FF2B5EF4-FFF2-40B4-BE49-F238E27FC236}">
                <a16:creationId xmlns:a16="http://schemas.microsoft.com/office/drawing/2014/main" id="{C7D15551-1290-405F-BD25-6ABF0894721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575682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30" name="Textplatzhalter 8">
            <a:extLst>
              <a:ext uri="{FF2B5EF4-FFF2-40B4-BE49-F238E27FC236}">
                <a16:creationId xmlns:a16="http://schemas.microsoft.com/office/drawing/2014/main" id="{22F89AD0-02C5-4175-B3F4-8788C3137D8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87027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31" name="Textplatzhalter 8">
            <a:extLst>
              <a:ext uri="{FF2B5EF4-FFF2-40B4-BE49-F238E27FC236}">
                <a16:creationId xmlns:a16="http://schemas.microsoft.com/office/drawing/2014/main" id="{FE572951-2F2B-4587-8B08-FA97A950415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197202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4</a:t>
            </a:r>
          </a:p>
        </p:txBody>
      </p:sp>
      <p:sp>
        <p:nvSpPr>
          <p:cNvPr id="33" name="Textplatzhalter 28">
            <a:extLst>
              <a:ext uri="{FF2B5EF4-FFF2-40B4-BE49-F238E27FC236}">
                <a16:creationId xmlns:a16="http://schemas.microsoft.com/office/drawing/2014/main" id="{4ED0B10A-D3D0-4421-86F8-F66783F8525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62000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4" name="Textplatzhalter 28">
            <a:extLst>
              <a:ext uri="{FF2B5EF4-FFF2-40B4-BE49-F238E27FC236}">
                <a16:creationId xmlns:a16="http://schemas.microsoft.com/office/drawing/2014/main" id="{6320E11F-E7F2-4E8F-9EDD-97A74F2BDB6E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575682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5" name="Textplatzhalter 28">
            <a:extLst>
              <a:ext uri="{FF2B5EF4-FFF2-40B4-BE49-F238E27FC236}">
                <a16:creationId xmlns:a16="http://schemas.microsoft.com/office/drawing/2014/main" id="{3DBEFF14-C172-4623-AD1D-F41CEF998726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87027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6" name="Textplatzhalter 28">
            <a:extLst>
              <a:ext uri="{FF2B5EF4-FFF2-40B4-BE49-F238E27FC236}">
                <a16:creationId xmlns:a16="http://schemas.microsoft.com/office/drawing/2014/main" id="{6FA93FC9-E925-4BFF-A3E4-F222D9C8A983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197202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7" name="Untertitel 2">
            <a:extLst>
              <a:ext uri="{FF2B5EF4-FFF2-40B4-BE49-F238E27FC236}">
                <a16:creationId xmlns:a16="http://schemas.microsoft.com/office/drawing/2014/main" id="{7DC28A95-F57F-42BD-A112-794978F2C08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48" name="Bildplatzhalter 47">
            <a:extLst>
              <a:ext uri="{FF2B5EF4-FFF2-40B4-BE49-F238E27FC236}">
                <a16:creationId xmlns:a16="http://schemas.microsoft.com/office/drawing/2014/main" id="{45C68B6E-864E-4757-8FBD-B5EB6C66076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762001" y="1592264"/>
            <a:ext cx="2228034" cy="2960686"/>
          </a:xfrm>
          <a:custGeom>
            <a:avLst/>
            <a:gdLst>
              <a:gd name="connsiteX0" fmla="*/ 316581 w 2228034"/>
              <a:gd name="connsiteY0" fmla="*/ 0 h 2960686"/>
              <a:gd name="connsiteX1" fmla="*/ 1911454 w 2228034"/>
              <a:gd name="connsiteY1" fmla="*/ 0 h 2960686"/>
              <a:gd name="connsiteX2" fmla="*/ 2221603 w 2228034"/>
              <a:gd name="connsiteY2" fmla="*/ 252779 h 2960686"/>
              <a:gd name="connsiteX3" fmla="*/ 2228034 w 2228034"/>
              <a:gd name="connsiteY3" fmla="*/ 316571 h 2960686"/>
              <a:gd name="connsiteX4" fmla="*/ 2228034 w 2228034"/>
              <a:gd name="connsiteY4" fmla="*/ 2960686 h 2960686"/>
              <a:gd name="connsiteX5" fmla="*/ 0 w 2228034"/>
              <a:gd name="connsiteY5" fmla="*/ 2960686 h 2960686"/>
              <a:gd name="connsiteX6" fmla="*/ 0 w 2228034"/>
              <a:gd name="connsiteY6" fmla="*/ 2644106 h 2960686"/>
              <a:gd name="connsiteX7" fmla="*/ 0 w 2228034"/>
              <a:gd name="connsiteY7" fmla="*/ 1760537 h 2960686"/>
              <a:gd name="connsiteX8" fmla="*/ 0 w 2228034"/>
              <a:gd name="connsiteY8" fmla="*/ 316581 h 2960686"/>
              <a:gd name="connsiteX9" fmla="*/ 316581 w 2228034"/>
              <a:gd name="connsiteY9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28034" h="2960686">
                <a:moveTo>
                  <a:pt x="316581" y="0"/>
                </a:moveTo>
                <a:lnTo>
                  <a:pt x="1911454" y="0"/>
                </a:lnTo>
                <a:cubicBezTo>
                  <a:pt x="2064442" y="0"/>
                  <a:pt x="2192083" y="108518"/>
                  <a:pt x="2221603" y="252779"/>
                </a:cubicBezTo>
                <a:lnTo>
                  <a:pt x="2228034" y="316571"/>
                </a:lnTo>
                <a:lnTo>
                  <a:pt x="2228034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9" name="Bildplatzhalter 48">
            <a:extLst>
              <a:ext uri="{FF2B5EF4-FFF2-40B4-BE49-F238E27FC236}">
                <a16:creationId xmlns:a16="http://schemas.microsoft.com/office/drawing/2014/main" id="{2E0DACAD-E889-4699-9EFB-003D891B6B8B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9197202" y="1592264"/>
            <a:ext cx="2228035" cy="2960686"/>
          </a:xfrm>
          <a:custGeom>
            <a:avLst/>
            <a:gdLst>
              <a:gd name="connsiteX0" fmla="*/ 316581 w 2228035"/>
              <a:gd name="connsiteY0" fmla="*/ 0 h 2960686"/>
              <a:gd name="connsiteX1" fmla="*/ 1911454 w 2228035"/>
              <a:gd name="connsiteY1" fmla="*/ 0 h 2960686"/>
              <a:gd name="connsiteX2" fmla="*/ 2228035 w 2228035"/>
              <a:gd name="connsiteY2" fmla="*/ 316581 h 2960686"/>
              <a:gd name="connsiteX3" fmla="*/ 2228035 w 2228035"/>
              <a:gd name="connsiteY3" fmla="*/ 1760537 h 2960686"/>
              <a:gd name="connsiteX4" fmla="*/ 2228035 w 2228035"/>
              <a:gd name="connsiteY4" fmla="*/ 2644106 h 2960686"/>
              <a:gd name="connsiteX5" fmla="*/ 2228035 w 2228035"/>
              <a:gd name="connsiteY5" fmla="*/ 2960686 h 2960686"/>
              <a:gd name="connsiteX6" fmla="*/ 0 w 2228035"/>
              <a:gd name="connsiteY6" fmla="*/ 2960686 h 2960686"/>
              <a:gd name="connsiteX7" fmla="*/ 0 w 2228035"/>
              <a:gd name="connsiteY7" fmla="*/ 2644106 h 2960686"/>
              <a:gd name="connsiteX8" fmla="*/ 0 w 2228035"/>
              <a:gd name="connsiteY8" fmla="*/ 1760537 h 2960686"/>
              <a:gd name="connsiteX9" fmla="*/ 0 w 2228035"/>
              <a:gd name="connsiteY9" fmla="*/ 316581 h 2960686"/>
              <a:gd name="connsiteX10" fmla="*/ 316581 w 2228035"/>
              <a:gd name="connsiteY10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28035" h="2960686">
                <a:moveTo>
                  <a:pt x="316581" y="0"/>
                </a:moveTo>
                <a:lnTo>
                  <a:pt x="1911454" y="0"/>
                </a:lnTo>
                <a:cubicBezTo>
                  <a:pt x="2086297" y="0"/>
                  <a:pt x="2228035" y="141738"/>
                  <a:pt x="2228035" y="316581"/>
                </a:cubicBezTo>
                <a:lnTo>
                  <a:pt x="2228035" y="1760537"/>
                </a:lnTo>
                <a:lnTo>
                  <a:pt x="2228035" y="2644106"/>
                </a:lnTo>
                <a:lnTo>
                  <a:pt x="2228035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50" name="Bildplatzhalter 49">
            <a:extLst>
              <a:ext uri="{FF2B5EF4-FFF2-40B4-BE49-F238E27FC236}">
                <a16:creationId xmlns:a16="http://schemas.microsoft.com/office/drawing/2014/main" id="{47FBA20F-37BD-4882-BFD8-C8FE0EF69548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3575682" y="1592264"/>
            <a:ext cx="2228035" cy="2960686"/>
          </a:xfrm>
          <a:custGeom>
            <a:avLst/>
            <a:gdLst>
              <a:gd name="connsiteX0" fmla="*/ 316581 w 2228035"/>
              <a:gd name="connsiteY0" fmla="*/ 0 h 2960686"/>
              <a:gd name="connsiteX1" fmla="*/ 1911454 w 2228035"/>
              <a:gd name="connsiteY1" fmla="*/ 0 h 2960686"/>
              <a:gd name="connsiteX2" fmla="*/ 2228035 w 2228035"/>
              <a:gd name="connsiteY2" fmla="*/ 316581 h 2960686"/>
              <a:gd name="connsiteX3" fmla="*/ 2228035 w 2228035"/>
              <a:gd name="connsiteY3" fmla="*/ 1760537 h 2960686"/>
              <a:gd name="connsiteX4" fmla="*/ 2228035 w 2228035"/>
              <a:gd name="connsiteY4" fmla="*/ 2644106 h 2960686"/>
              <a:gd name="connsiteX5" fmla="*/ 2228035 w 2228035"/>
              <a:gd name="connsiteY5" fmla="*/ 2960686 h 2960686"/>
              <a:gd name="connsiteX6" fmla="*/ 0 w 2228035"/>
              <a:gd name="connsiteY6" fmla="*/ 2960686 h 2960686"/>
              <a:gd name="connsiteX7" fmla="*/ 0 w 2228035"/>
              <a:gd name="connsiteY7" fmla="*/ 2644106 h 2960686"/>
              <a:gd name="connsiteX8" fmla="*/ 0 w 2228035"/>
              <a:gd name="connsiteY8" fmla="*/ 1760537 h 2960686"/>
              <a:gd name="connsiteX9" fmla="*/ 0 w 2228035"/>
              <a:gd name="connsiteY9" fmla="*/ 316581 h 2960686"/>
              <a:gd name="connsiteX10" fmla="*/ 316581 w 2228035"/>
              <a:gd name="connsiteY10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28035" h="2960686">
                <a:moveTo>
                  <a:pt x="316581" y="0"/>
                </a:moveTo>
                <a:lnTo>
                  <a:pt x="1911454" y="0"/>
                </a:lnTo>
                <a:cubicBezTo>
                  <a:pt x="2086297" y="0"/>
                  <a:pt x="2228035" y="141738"/>
                  <a:pt x="2228035" y="316581"/>
                </a:cubicBezTo>
                <a:lnTo>
                  <a:pt x="2228035" y="1760537"/>
                </a:lnTo>
                <a:lnTo>
                  <a:pt x="2228035" y="2644106"/>
                </a:lnTo>
                <a:lnTo>
                  <a:pt x="2228035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51" name="Bildplatzhalter 50">
            <a:extLst>
              <a:ext uri="{FF2B5EF4-FFF2-40B4-BE49-F238E27FC236}">
                <a16:creationId xmlns:a16="http://schemas.microsoft.com/office/drawing/2014/main" id="{429475EE-C7E3-4D4B-8C7B-101E4F3EF50D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6387027" y="1592264"/>
            <a:ext cx="2228035" cy="2960686"/>
          </a:xfrm>
          <a:custGeom>
            <a:avLst/>
            <a:gdLst>
              <a:gd name="connsiteX0" fmla="*/ 316581 w 2228035"/>
              <a:gd name="connsiteY0" fmla="*/ 0 h 2960686"/>
              <a:gd name="connsiteX1" fmla="*/ 1911454 w 2228035"/>
              <a:gd name="connsiteY1" fmla="*/ 0 h 2960686"/>
              <a:gd name="connsiteX2" fmla="*/ 2228035 w 2228035"/>
              <a:gd name="connsiteY2" fmla="*/ 316581 h 2960686"/>
              <a:gd name="connsiteX3" fmla="*/ 2228035 w 2228035"/>
              <a:gd name="connsiteY3" fmla="*/ 1760537 h 2960686"/>
              <a:gd name="connsiteX4" fmla="*/ 2228035 w 2228035"/>
              <a:gd name="connsiteY4" fmla="*/ 2644106 h 2960686"/>
              <a:gd name="connsiteX5" fmla="*/ 2228035 w 2228035"/>
              <a:gd name="connsiteY5" fmla="*/ 2960686 h 2960686"/>
              <a:gd name="connsiteX6" fmla="*/ 0 w 2228035"/>
              <a:gd name="connsiteY6" fmla="*/ 2960686 h 2960686"/>
              <a:gd name="connsiteX7" fmla="*/ 0 w 2228035"/>
              <a:gd name="connsiteY7" fmla="*/ 2644106 h 2960686"/>
              <a:gd name="connsiteX8" fmla="*/ 0 w 2228035"/>
              <a:gd name="connsiteY8" fmla="*/ 1760537 h 2960686"/>
              <a:gd name="connsiteX9" fmla="*/ 0 w 2228035"/>
              <a:gd name="connsiteY9" fmla="*/ 316581 h 2960686"/>
              <a:gd name="connsiteX10" fmla="*/ 316581 w 2228035"/>
              <a:gd name="connsiteY10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28035" h="2960686">
                <a:moveTo>
                  <a:pt x="316581" y="0"/>
                </a:moveTo>
                <a:lnTo>
                  <a:pt x="1911454" y="0"/>
                </a:lnTo>
                <a:cubicBezTo>
                  <a:pt x="2086297" y="0"/>
                  <a:pt x="2228035" y="141738"/>
                  <a:pt x="2228035" y="316581"/>
                </a:cubicBezTo>
                <a:lnTo>
                  <a:pt x="2228035" y="1760537"/>
                </a:lnTo>
                <a:lnTo>
                  <a:pt x="2228035" y="2644106"/>
                </a:lnTo>
                <a:lnTo>
                  <a:pt x="2228035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</p:spTree>
    <p:extLst>
      <p:ext uri="{BB962C8B-B14F-4D97-AF65-F5344CB8AC3E}">
        <p14:creationId xmlns:p14="http://schemas.microsoft.com/office/powerpoint/2010/main" val="26615295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Bilder Inhalt Farbfläch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ihandform: Form 22">
            <a:extLst>
              <a:ext uri="{FF2B5EF4-FFF2-40B4-BE49-F238E27FC236}">
                <a16:creationId xmlns:a16="http://schemas.microsoft.com/office/drawing/2014/main" id="{42C1C417-C6A8-42BE-9910-2D37DC5D2A6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262360 w 12192000"/>
              <a:gd name="connsiteY3" fmla="*/ 6858000 h 6858000"/>
              <a:gd name="connsiteX4" fmla="*/ 11262360 w 12192000"/>
              <a:gd name="connsiteY4" fmla="*/ 3802297 h 6858000"/>
              <a:gd name="connsiteX5" fmla="*/ 10276288 w 12192000"/>
              <a:gd name="connsiteY5" fmla="*/ 2816225 h 6858000"/>
              <a:gd name="connsiteX6" fmla="*/ 0 w 12192000"/>
              <a:gd name="connsiteY6" fmla="*/ 281622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262360" y="6858000"/>
                </a:lnTo>
                <a:lnTo>
                  <a:pt x="11262360" y="3802297"/>
                </a:lnTo>
                <a:cubicBezTo>
                  <a:pt x="11262360" y="3257704"/>
                  <a:pt x="10820881" y="2816225"/>
                  <a:pt x="10276288" y="2816225"/>
                </a:cubicBezTo>
                <a:lnTo>
                  <a:pt x="0" y="2816225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78833B7C-624A-4366-B73C-BA06FB92685A}"/>
              </a:ext>
            </a:extLst>
          </p:cNvPr>
          <p:cNvSpPr/>
          <p:nvPr userDrawn="1"/>
        </p:nvSpPr>
        <p:spPr>
          <a:xfrm>
            <a:off x="-10930" y="2601380"/>
            <a:ext cx="11503732" cy="4267200"/>
          </a:xfrm>
          <a:custGeom>
            <a:avLst/>
            <a:gdLst>
              <a:gd name="connsiteX0" fmla="*/ 0 w 11503732"/>
              <a:gd name="connsiteY0" fmla="*/ 0 h 4267200"/>
              <a:gd name="connsiteX1" fmla="*/ 10297224 w 11503732"/>
              <a:gd name="connsiteY1" fmla="*/ 0 h 4267200"/>
              <a:gd name="connsiteX2" fmla="*/ 11503732 w 11503732"/>
              <a:gd name="connsiteY2" fmla="*/ 1206508 h 4267200"/>
              <a:gd name="connsiteX3" fmla="*/ 11503732 w 11503732"/>
              <a:gd name="connsiteY3" fmla="*/ 4267200 h 4267200"/>
              <a:gd name="connsiteX4" fmla="*/ 0 w 11503732"/>
              <a:gd name="connsiteY4" fmla="*/ 426720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03732" h="4267200">
                <a:moveTo>
                  <a:pt x="0" y="0"/>
                </a:moveTo>
                <a:lnTo>
                  <a:pt x="10297224" y="0"/>
                </a:lnTo>
                <a:cubicBezTo>
                  <a:pt x="10963560" y="0"/>
                  <a:pt x="11503732" y="540172"/>
                  <a:pt x="11503732" y="1206508"/>
                </a:cubicBezTo>
                <a:lnTo>
                  <a:pt x="11503732" y="4267200"/>
                </a:lnTo>
                <a:lnTo>
                  <a:pt x="0" y="4267200"/>
                </a:ln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487488" y="1915370"/>
            <a:ext cx="2300287" cy="2126405"/>
          </a:xfrm>
          <a:prstGeom prst="round2SameRect">
            <a:avLst>
              <a:gd name="adj1" fmla="val 14427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4E6E7D95-E752-4938-A697-BF0079FA9A28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6" cy="635012"/>
          </a:xfrm>
        </p:grpSpPr>
        <p:sp>
          <p:nvSpPr>
            <p:cNvPr id="30" name="Oval 5">
              <a:extLst>
                <a:ext uri="{FF2B5EF4-FFF2-40B4-BE49-F238E27FC236}">
                  <a16:creationId xmlns:a16="http://schemas.microsoft.com/office/drawing/2014/main" id="{1D77E2A1-AC77-44E7-839B-CADFB8AA1A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607E5BD9-B18D-42DC-A03B-FFC59313D6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79A6C844-5DD2-409E-98B9-E19508E5FA87}"/>
                </a:ext>
              </a:extLst>
            </p:cNvPr>
            <p:cNvGrpSpPr/>
            <p:nvPr/>
          </p:nvGrpSpPr>
          <p:grpSpPr>
            <a:xfrm>
              <a:off x="1311217" y="1530579"/>
              <a:ext cx="1533582" cy="307590"/>
              <a:chOff x="3987943" y="2307132"/>
              <a:chExt cx="2607166" cy="522910"/>
            </a:xfrm>
          </p:grpSpPr>
          <p:sp>
            <p:nvSpPr>
              <p:cNvPr id="33" name="Freeform 7">
                <a:extLst>
                  <a:ext uri="{FF2B5EF4-FFF2-40B4-BE49-F238E27FC236}">
                    <a16:creationId xmlns:a16="http://schemas.microsoft.com/office/drawing/2014/main" id="{643D1AFD-B7D6-4A09-BFEB-A6E265C0EA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8">
                <a:extLst>
                  <a:ext uri="{FF2B5EF4-FFF2-40B4-BE49-F238E27FC236}">
                    <a16:creationId xmlns:a16="http://schemas.microsoft.com/office/drawing/2014/main" id="{40E33BC4-1E2D-4478-BF91-015ADA50B16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9">
                <a:extLst>
                  <a:ext uri="{FF2B5EF4-FFF2-40B4-BE49-F238E27FC236}">
                    <a16:creationId xmlns:a16="http://schemas.microsoft.com/office/drawing/2014/main" id="{B1369C83-92F5-4D60-B81D-1BA647CC02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0">
                <a:extLst>
                  <a:ext uri="{FF2B5EF4-FFF2-40B4-BE49-F238E27FC236}">
                    <a16:creationId xmlns:a16="http://schemas.microsoft.com/office/drawing/2014/main" id="{26C5AFE6-9457-47F3-A719-0D2F180FCD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1">
                <a:extLst>
                  <a:ext uri="{FF2B5EF4-FFF2-40B4-BE49-F238E27FC236}">
                    <a16:creationId xmlns:a16="http://schemas.microsoft.com/office/drawing/2014/main" id="{6EE3B5FE-7E51-4F77-8F4D-99C718E2FA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2">
                <a:extLst>
                  <a:ext uri="{FF2B5EF4-FFF2-40B4-BE49-F238E27FC236}">
                    <a16:creationId xmlns:a16="http://schemas.microsoft.com/office/drawing/2014/main" id="{4C62839E-3074-4973-814C-1B5157D823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3">
                <a:extLst>
                  <a:ext uri="{FF2B5EF4-FFF2-40B4-BE49-F238E27FC236}">
                    <a16:creationId xmlns:a16="http://schemas.microsoft.com/office/drawing/2014/main" id="{CBC551B8-B813-4181-B5A2-4FCDD7F799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4">
                <a:extLst>
                  <a:ext uri="{FF2B5EF4-FFF2-40B4-BE49-F238E27FC236}">
                    <a16:creationId xmlns:a16="http://schemas.microsoft.com/office/drawing/2014/main" id="{B4BC6E0C-B64B-45FC-BE32-87D981D4A3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5">
                <a:extLst>
                  <a:ext uri="{FF2B5EF4-FFF2-40B4-BE49-F238E27FC236}">
                    <a16:creationId xmlns:a16="http://schemas.microsoft.com/office/drawing/2014/main" id="{A8A873D6-99AD-4B9F-925C-0040680E39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6">
                <a:extLst>
                  <a:ext uri="{FF2B5EF4-FFF2-40B4-BE49-F238E27FC236}">
                    <a16:creationId xmlns:a16="http://schemas.microsoft.com/office/drawing/2014/main" id="{E6FE9E62-9925-40BD-83DB-748F8A9258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44" name="Bildplatzhalter 43">
            <a:extLst>
              <a:ext uri="{FF2B5EF4-FFF2-40B4-BE49-F238E27FC236}">
                <a16:creationId xmlns:a16="http://schemas.microsoft.com/office/drawing/2014/main" id="{2CF2BA29-B1F5-4E1C-915D-7F4FC6184988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4943475" y="1915370"/>
            <a:ext cx="2300287" cy="2126405"/>
          </a:xfrm>
          <a:prstGeom prst="round2SameRect">
            <a:avLst>
              <a:gd name="adj1" fmla="val 14427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5" name="Bildplatzhalter 44">
            <a:extLst>
              <a:ext uri="{FF2B5EF4-FFF2-40B4-BE49-F238E27FC236}">
                <a16:creationId xmlns:a16="http://schemas.microsoft.com/office/drawing/2014/main" id="{B7C45DC4-51D5-44A9-817E-78B83E5B082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8399462" y="1915370"/>
            <a:ext cx="2300287" cy="2126405"/>
          </a:xfrm>
          <a:prstGeom prst="round2SameRect">
            <a:avLst>
              <a:gd name="adj1" fmla="val 14427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95AA77A-1C06-4D07-8794-FCA3B043B958}"/>
              </a:ext>
            </a:extLst>
          </p:cNvPr>
          <p:cNvSpPr>
            <a:spLocks noGrp="1"/>
          </p:cNvSpPr>
          <p:nvPr>
            <p:ph type="dt" sz="half" idx="22"/>
          </p:nvPr>
        </p:nvSpPr>
        <p:spPr>
          <a:xfrm>
            <a:off x="11160919" y="6991314"/>
            <a:ext cx="457993" cy="101671"/>
          </a:xfrm>
        </p:spPr>
        <p:txBody>
          <a:bodyPr/>
          <a:lstStyle/>
          <a:p>
            <a:pPr algn="r"/>
            <a:fld id="{0B802492-D31C-4A0A-B56D-D41D55C1D28E}" type="datetime1">
              <a:rPr lang="de-DE" smtClean="0"/>
              <a:t>2022-01-1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DD25278-5920-4203-8EF2-E38D0AAB249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8401051" y="6991314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92D9BE3-5B6C-4092-94F4-64CE9C9872B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11725538" y="6991314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6" name="Untertitel 2">
            <a:extLst>
              <a:ext uri="{FF2B5EF4-FFF2-40B4-BE49-F238E27FC236}">
                <a16:creationId xmlns:a16="http://schemas.microsoft.com/office/drawing/2014/main" id="{90D2C574-D497-4C62-965B-B7B78883959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47" name="Textplatzhalter 8">
            <a:extLst>
              <a:ext uri="{FF2B5EF4-FFF2-40B4-BE49-F238E27FC236}">
                <a16:creationId xmlns:a16="http://schemas.microsoft.com/office/drawing/2014/main" id="{330E89D2-DE47-4785-A913-9B0D34C37E4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487488" y="4300582"/>
            <a:ext cx="2300287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48" name="Textplatzhalter 16">
            <a:extLst>
              <a:ext uri="{FF2B5EF4-FFF2-40B4-BE49-F238E27FC236}">
                <a16:creationId xmlns:a16="http://schemas.microsoft.com/office/drawing/2014/main" id="{2EC7269E-71A8-4307-9A13-7EAADABB64F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487488" y="4713288"/>
            <a:ext cx="2300287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4" name="Textplatzhalter 16">
            <a:extLst>
              <a:ext uri="{FF2B5EF4-FFF2-40B4-BE49-F238E27FC236}">
                <a16:creationId xmlns:a16="http://schemas.microsoft.com/office/drawing/2014/main" id="{E53AD428-D3E1-4EE1-B9C5-49DE987BF61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943475" y="4713288"/>
            <a:ext cx="2300287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5" name="Textplatzhalter 8">
            <a:extLst>
              <a:ext uri="{FF2B5EF4-FFF2-40B4-BE49-F238E27FC236}">
                <a16:creationId xmlns:a16="http://schemas.microsoft.com/office/drawing/2014/main" id="{5716F1A4-52F4-4FA3-94B9-AD10F95146E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943475" y="4300582"/>
            <a:ext cx="2300287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56" name="Textplatzhalter 8">
            <a:extLst>
              <a:ext uri="{FF2B5EF4-FFF2-40B4-BE49-F238E27FC236}">
                <a16:creationId xmlns:a16="http://schemas.microsoft.com/office/drawing/2014/main" id="{0C568DF1-8822-4956-B2CA-D4CF0312D9F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399462" y="4300582"/>
            <a:ext cx="2300287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57" name="Textplatzhalter 16">
            <a:extLst>
              <a:ext uri="{FF2B5EF4-FFF2-40B4-BE49-F238E27FC236}">
                <a16:creationId xmlns:a16="http://schemas.microsoft.com/office/drawing/2014/main" id="{57E36EEB-D356-4A20-B333-FC54DC015515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399462" y="4713288"/>
            <a:ext cx="2300287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29504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Bilder Inhalt Farbfläch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ihandform: Form 22">
            <a:extLst>
              <a:ext uri="{FF2B5EF4-FFF2-40B4-BE49-F238E27FC236}">
                <a16:creationId xmlns:a16="http://schemas.microsoft.com/office/drawing/2014/main" id="{42C1C417-C6A8-42BE-9910-2D37DC5D2A6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262360 w 12192000"/>
              <a:gd name="connsiteY3" fmla="*/ 6858000 h 6858000"/>
              <a:gd name="connsiteX4" fmla="*/ 11262360 w 12192000"/>
              <a:gd name="connsiteY4" fmla="*/ 3802297 h 6858000"/>
              <a:gd name="connsiteX5" fmla="*/ 10276288 w 12192000"/>
              <a:gd name="connsiteY5" fmla="*/ 2816225 h 6858000"/>
              <a:gd name="connsiteX6" fmla="*/ 0 w 12192000"/>
              <a:gd name="connsiteY6" fmla="*/ 281622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262360" y="6858000"/>
                </a:lnTo>
                <a:lnTo>
                  <a:pt x="11262360" y="3802297"/>
                </a:lnTo>
                <a:cubicBezTo>
                  <a:pt x="11262360" y="3257704"/>
                  <a:pt x="10820881" y="2816225"/>
                  <a:pt x="10276288" y="2816225"/>
                </a:cubicBezTo>
                <a:lnTo>
                  <a:pt x="0" y="2816225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78833B7C-624A-4366-B73C-BA06FB92685A}"/>
              </a:ext>
            </a:extLst>
          </p:cNvPr>
          <p:cNvSpPr/>
          <p:nvPr userDrawn="1"/>
        </p:nvSpPr>
        <p:spPr>
          <a:xfrm>
            <a:off x="-10930" y="2601380"/>
            <a:ext cx="11503732" cy="4267200"/>
          </a:xfrm>
          <a:custGeom>
            <a:avLst/>
            <a:gdLst>
              <a:gd name="connsiteX0" fmla="*/ 0 w 11503732"/>
              <a:gd name="connsiteY0" fmla="*/ 0 h 4267200"/>
              <a:gd name="connsiteX1" fmla="*/ 10297224 w 11503732"/>
              <a:gd name="connsiteY1" fmla="*/ 0 h 4267200"/>
              <a:gd name="connsiteX2" fmla="*/ 11503732 w 11503732"/>
              <a:gd name="connsiteY2" fmla="*/ 1206508 h 4267200"/>
              <a:gd name="connsiteX3" fmla="*/ 11503732 w 11503732"/>
              <a:gd name="connsiteY3" fmla="*/ 4267200 h 4267200"/>
              <a:gd name="connsiteX4" fmla="*/ 0 w 11503732"/>
              <a:gd name="connsiteY4" fmla="*/ 426720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03732" h="4267200">
                <a:moveTo>
                  <a:pt x="0" y="0"/>
                </a:moveTo>
                <a:lnTo>
                  <a:pt x="10297224" y="0"/>
                </a:lnTo>
                <a:cubicBezTo>
                  <a:pt x="10963560" y="0"/>
                  <a:pt x="11503732" y="540172"/>
                  <a:pt x="11503732" y="1206508"/>
                </a:cubicBezTo>
                <a:lnTo>
                  <a:pt x="11503732" y="4267200"/>
                </a:lnTo>
                <a:lnTo>
                  <a:pt x="0" y="4267200"/>
                </a:ln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487488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4E6E7D95-E752-4938-A697-BF0079FA9A28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6" cy="635012"/>
          </a:xfrm>
        </p:grpSpPr>
        <p:sp>
          <p:nvSpPr>
            <p:cNvPr id="30" name="Oval 5">
              <a:extLst>
                <a:ext uri="{FF2B5EF4-FFF2-40B4-BE49-F238E27FC236}">
                  <a16:creationId xmlns:a16="http://schemas.microsoft.com/office/drawing/2014/main" id="{1D77E2A1-AC77-44E7-839B-CADFB8AA1A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607E5BD9-B18D-42DC-A03B-FFC59313D6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79A6C844-5DD2-409E-98B9-E19508E5FA87}"/>
                </a:ext>
              </a:extLst>
            </p:cNvPr>
            <p:cNvGrpSpPr/>
            <p:nvPr/>
          </p:nvGrpSpPr>
          <p:grpSpPr>
            <a:xfrm>
              <a:off x="1311217" y="1530579"/>
              <a:ext cx="1533582" cy="307590"/>
              <a:chOff x="3987943" y="2307132"/>
              <a:chExt cx="2607166" cy="522910"/>
            </a:xfrm>
          </p:grpSpPr>
          <p:sp>
            <p:nvSpPr>
              <p:cNvPr id="33" name="Freeform 7">
                <a:extLst>
                  <a:ext uri="{FF2B5EF4-FFF2-40B4-BE49-F238E27FC236}">
                    <a16:creationId xmlns:a16="http://schemas.microsoft.com/office/drawing/2014/main" id="{643D1AFD-B7D6-4A09-BFEB-A6E265C0EA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8">
                <a:extLst>
                  <a:ext uri="{FF2B5EF4-FFF2-40B4-BE49-F238E27FC236}">
                    <a16:creationId xmlns:a16="http://schemas.microsoft.com/office/drawing/2014/main" id="{40E33BC4-1E2D-4478-BF91-015ADA50B16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9">
                <a:extLst>
                  <a:ext uri="{FF2B5EF4-FFF2-40B4-BE49-F238E27FC236}">
                    <a16:creationId xmlns:a16="http://schemas.microsoft.com/office/drawing/2014/main" id="{B1369C83-92F5-4D60-B81D-1BA647CC02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0">
                <a:extLst>
                  <a:ext uri="{FF2B5EF4-FFF2-40B4-BE49-F238E27FC236}">
                    <a16:creationId xmlns:a16="http://schemas.microsoft.com/office/drawing/2014/main" id="{26C5AFE6-9457-47F3-A719-0D2F180FCD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1">
                <a:extLst>
                  <a:ext uri="{FF2B5EF4-FFF2-40B4-BE49-F238E27FC236}">
                    <a16:creationId xmlns:a16="http://schemas.microsoft.com/office/drawing/2014/main" id="{6EE3B5FE-7E51-4F77-8F4D-99C718E2FA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2">
                <a:extLst>
                  <a:ext uri="{FF2B5EF4-FFF2-40B4-BE49-F238E27FC236}">
                    <a16:creationId xmlns:a16="http://schemas.microsoft.com/office/drawing/2014/main" id="{4C62839E-3074-4973-814C-1B5157D823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3">
                <a:extLst>
                  <a:ext uri="{FF2B5EF4-FFF2-40B4-BE49-F238E27FC236}">
                    <a16:creationId xmlns:a16="http://schemas.microsoft.com/office/drawing/2014/main" id="{CBC551B8-B813-4181-B5A2-4FCDD7F799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4">
                <a:extLst>
                  <a:ext uri="{FF2B5EF4-FFF2-40B4-BE49-F238E27FC236}">
                    <a16:creationId xmlns:a16="http://schemas.microsoft.com/office/drawing/2014/main" id="{B4BC6E0C-B64B-45FC-BE32-87D981D4A3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5">
                <a:extLst>
                  <a:ext uri="{FF2B5EF4-FFF2-40B4-BE49-F238E27FC236}">
                    <a16:creationId xmlns:a16="http://schemas.microsoft.com/office/drawing/2014/main" id="{A8A873D6-99AD-4B9F-925C-0040680E39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6">
                <a:extLst>
                  <a:ext uri="{FF2B5EF4-FFF2-40B4-BE49-F238E27FC236}">
                    <a16:creationId xmlns:a16="http://schemas.microsoft.com/office/drawing/2014/main" id="{E6FE9E62-9925-40BD-83DB-748F8A9258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50" name="Bildplatzhalter 49">
            <a:extLst>
              <a:ext uri="{FF2B5EF4-FFF2-40B4-BE49-F238E27FC236}">
                <a16:creationId xmlns:a16="http://schemas.microsoft.com/office/drawing/2014/main" id="{3EE30A50-6C25-44D7-942F-A1D692F5DDE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4001642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51" name="Bildplatzhalter 50">
            <a:extLst>
              <a:ext uri="{FF2B5EF4-FFF2-40B4-BE49-F238E27FC236}">
                <a16:creationId xmlns:a16="http://schemas.microsoft.com/office/drawing/2014/main" id="{4C754E0D-D00D-406A-ABB1-2BC23994F8BF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515796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52" name="Bildplatzhalter 51">
            <a:extLst>
              <a:ext uri="{FF2B5EF4-FFF2-40B4-BE49-F238E27FC236}">
                <a16:creationId xmlns:a16="http://schemas.microsoft.com/office/drawing/2014/main" id="{E86ED2C5-07F4-4D71-ABCD-26E63A679F6E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9031105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51A2BA7-048B-4652-9F13-266927BA0590}"/>
              </a:ext>
            </a:extLst>
          </p:cNvPr>
          <p:cNvSpPr>
            <a:spLocks noGrp="1"/>
          </p:cNvSpPr>
          <p:nvPr>
            <p:ph type="dt" sz="half" idx="27"/>
          </p:nvPr>
        </p:nvSpPr>
        <p:spPr>
          <a:xfrm>
            <a:off x="11160919" y="7065971"/>
            <a:ext cx="457993" cy="101671"/>
          </a:xfrm>
        </p:spPr>
        <p:txBody>
          <a:bodyPr/>
          <a:lstStyle/>
          <a:p>
            <a:pPr algn="r"/>
            <a:fld id="{3EC98469-B266-4823-9C4E-FAE4A37D3FF3}" type="datetime1">
              <a:rPr lang="de-DE" smtClean="0"/>
              <a:t>2022-01-1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8EE3B0B-3CCF-427F-AEAB-8D00A76E7729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>
          <a:xfrm>
            <a:off x="8401051" y="7065971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BFF838C-BDC9-42AC-8249-5DDDCE8081A2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>
          <a:xfrm>
            <a:off x="11725538" y="7065971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6" name="Untertitel 2">
            <a:extLst>
              <a:ext uri="{FF2B5EF4-FFF2-40B4-BE49-F238E27FC236}">
                <a16:creationId xmlns:a16="http://schemas.microsoft.com/office/drawing/2014/main" id="{88CA8FC8-947A-4771-B487-B79B084C7F1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48" name="Textplatzhalter 8">
            <a:extLst>
              <a:ext uri="{FF2B5EF4-FFF2-40B4-BE49-F238E27FC236}">
                <a16:creationId xmlns:a16="http://schemas.microsoft.com/office/drawing/2014/main" id="{5D5B5FA2-EABF-4A53-9CC2-33A2AF9ADBA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487489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53" name="Textplatzhalter 16">
            <a:extLst>
              <a:ext uri="{FF2B5EF4-FFF2-40B4-BE49-F238E27FC236}">
                <a16:creationId xmlns:a16="http://schemas.microsoft.com/office/drawing/2014/main" id="{ECFAD37C-78E5-4B63-94F8-2E25C162EF79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1487489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4" name="Textplatzhalter 8">
            <a:extLst>
              <a:ext uri="{FF2B5EF4-FFF2-40B4-BE49-F238E27FC236}">
                <a16:creationId xmlns:a16="http://schemas.microsoft.com/office/drawing/2014/main" id="{4DBBAE40-4AE6-4A53-8E33-8BF3C08852C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001642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55" name="Textplatzhalter 16">
            <a:extLst>
              <a:ext uri="{FF2B5EF4-FFF2-40B4-BE49-F238E27FC236}">
                <a16:creationId xmlns:a16="http://schemas.microsoft.com/office/drawing/2014/main" id="{80C0C41C-DF66-4D75-B3AD-D8B9ECA09B4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001642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9" name="Textplatzhalter 8">
            <a:extLst>
              <a:ext uri="{FF2B5EF4-FFF2-40B4-BE49-F238E27FC236}">
                <a16:creationId xmlns:a16="http://schemas.microsoft.com/office/drawing/2014/main" id="{23BD5A34-D428-4F88-A83E-3016DE42910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515796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60" name="Textplatzhalter 16">
            <a:extLst>
              <a:ext uri="{FF2B5EF4-FFF2-40B4-BE49-F238E27FC236}">
                <a16:creationId xmlns:a16="http://schemas.microsoft.com/office/drawing/2014/main" id="{515D80D5-4CAD-4402-9694-A09186BB5CA5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515796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1" name="Textplatzhalter 8">
            <a:extLst>
              <a:ext uri="{FF2B5EF4-FFF2-40B4-BE49-F238E27FC236}">
                <a16:creationId xmlns:a16="http://schemas.microsoft.com/office/drawing/2014/main" id="{9C23A202-2D17-4D53-ABA4-DD01DCD77685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031105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4</a:t>
            </a:r>
          </a:p>
        </p:txBody>
      </p:sp>
      <p:sp>
        <p:nvSpPr>
          <p:cNvPr id="62" name="Textplatzhalter 16">
            <a:extLst>
              <a:ext uri="{FF2B5EF4-FFF2-40B4-BE49-F238E27FC236}">
                <a16:creationId xmlns:a16="http://schemas.microsoft.com/office/drawing/2014/main" id="{3E87C2CD-61E1-4613-94C6-3CF4C20FE0B4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9031105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191127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Freihandform: Form 71">
            <a:extLst>
              <a:ext uri="{FF2B5EF4-FFF2-40B4-BE49-F238E27FC236}">
                <a16:creationId xmlns:a16="http://schemas.microsoft.com/office/drawing/2014/main" id="{A75114BC-7431-4632-B07E-7999E2A151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191998 w 12192000"/>
              <a:gd name="connsiteY3" fmla="*/ 6858000 h 6858000"/>
              <a:gd name="connsiteX4" fmla="*/ 12191998 w 12192000"/>
              <a:gd name="connsiteY4" fmla="*/ 3429000 h 6858000"/>
              <a:gd name="connsiteX5" fmla="*/ 8518560 w 12192000"/>
              <a:gd name="connsiteY5" fmla="*/ 3429000 h 6858000"/>
              <a:gd name="connsiteX6" fmla="*/ 7608881 w 12192000"/>
              <a:gd name="connsiteY6" fmla="*/ 4338679 h 6858000"/>
              <a:gd name="connsiteX7" fmla="*/ 7608881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91998" y="6858000"/>
                </a:lnTo>
                <a:lnTo>
                  <a:pt x="12191998" y="3429000"/>
                </a:lnTo>
                <a:lnTo>
                  <a:pt x="8518560" y="3429000"/>
                </a:lnTo>
                <a:cubicBezTo>
                  <a:pt x="8016158" y="3429000"/>
                  <a:pt x="7608881" y="3836277"/>
                  <a:pt x="7608881" y="4338679"/>
                </a:cubicBezTo>
                <a:lnTo>
                  <a:pt x="760888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3" name="Rechteck: eine Ecke abgerundet 72">
            <a:extLst>
              <a:ext uri="{FF2B5EF4-FFF2-40B4-BE49-F238E27FC236}">
                <a16:creationId xmlns:a16="http://schemas.microsoft.com/office/drawing/2014/main" id="{A7A827D1-AA06-488B-BA96-C287ED4B204C}"/>
              </a:ext>
            </a:extLst>
          </p:cNvPr>
          <p:cNvSpPr/>
          <p:nvPr userDrawn="1"/>
        </p:nvSpPr>
        <p:spPr>
          <a:xfrm flipH="1">
            <a:off x="7859179" y="3253843"/>
            <a:ext cx="4343397" cy="3614737"/>
          </a:xfrm>
          <a:prstGeom prst="round1Rect">
            <a:avLst>
              <a:gd name="adj" fmla="val 2652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grpSp>
        <p:nvGrpSpPr>
          <p:cNvPr id="74" name="Gruppieren 73">
            <a:extLst>
              <a:ext uri="{FF2B5EF4-FFF2-40B4-BE49-F238E27FC236}">
                <a16:creationId xmlns:a16="http://schemas.microsoft.com/office/drawing/2014/main" id="{D6DACE5A-3BDE-412C-A52F-5E1754695BA8}"/>
              </a:ext>
            </a:extLst>
          </p:cNvPr>
          <p:cNvGrpSpPr/>
          <p:nvPr userDrawn="1"/>
        </p:nvGrpSpPr>
        <p:grpSpPr>
          <a:xfrm>
            <a:off x="1487489" y="1592263"/>
            <a:ext cx="2961647" cy="790184"/>
            <a:chOff x="464743" y="1368699"/>
            <a:chExt cx="2380058" cy="635012"/>
          </a:xfrm>
        </p:grpSpPr>
        <p:sp>
          <p:nvSpPr>
            <p:cNvPr id="75" name="Oval 5">
              <a:extLst>
                <a:ext uri="{FF2B5EF4-FFF2-40B4-BE49-F238E27FC236}">
                  <a16:creationId xmlns:a16="http://schemas.microsoft.com/office/drawing/2014/main" id="{03561C31-2A86-44BB-99A5-BB37740F83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76" name="Freeform 6">
              <a:extLst>
                <a:ext uri="{FF2B5EF4-FFF2-40B4-BE49-F238E27FC236}">
                  <a16:creationId xmlns:a16="http://schemas.microsoft.com/office/drawing/2014/main" id="{3DCC3458-AE28-4F4E-B295-E2688C5B5F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77" name="Gruppieren 76">
              <a:extLst>
                <a:ext uri="{FF2B5EF4-FFF2-40B4-BE49-F238E27FC236}">
                  <a16:creationId xmlns:a16="http://schemas.microsoft.com/office/drawing/2014/main" id="{97C3C931-3680-4F2F-9C0A-F0AC0188B763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78" name="Freeform 7">
                <a:extLst>
                  <a:ext uri="{FF2B5EF4-FFF2-40B4-BE49-F238E27FC236}">
                    <a16:creationId xmlns:a16="http://schemas.microsoft.com/office/drawing/2014/main" id="{48EE78C4-2ACE-48F2-A407-A34141AA6F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79" name="Freeform 8">
                <a:extLst>
                  <a:ext uri="{FF2B5EF4-FFF2-40B4-BE49-F238E27FC236}">
                    <a16:creationId xmlns:a16="http://schemas.microsoft.com/office/drawing/2014/main" id="{E5CA907D-D372-4599-85D9-55D98620D95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80" name="Freeform 9">
                <a:extLst>
                  <a:ext uri="{FF2B5EF4-FFF2-40B4-BE49-F238E27FC236}">
                    <a16:creationId xmlns:a16="http://schemas.microsoft.com/office/drawing/2014/main" id="{ACCFFCF8-2487-4783-82D6-31D90EFED7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81" name="Freeform 10">
                <a:extLst>
                  <a:ext uri="{FF2B5EF4-FFF2-40B4-BE49-F238E27FC236}">
                    <a16:creationId xmlns:a16="http://schemas.microsoft.com/office/drawing/2014/main" id="{122D8716-CC65-435B-A7F5-76641D0009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82" name="Freeform 11">
                <a:extLst>
                  <a:ext uri="{FF2B5EF4-FFF2-40B4-BE49-F238E27FC236}">
                    <a16:creationId xmlns:a16="http://schemas.microsoft.com/office/drawing/2014/main" id="{D09F0330-0835-4449-BFCA-411AAA5B03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83" name="Freeform 12">
                <a:extLst>
                  <a:ext uri="{FF2B5EF4-FFF2-40B4-BE49-F238E27FC236}">
                    <a16:creationId xmlns:a16="http://schemas.microsoft.com/office/drawing/2014/main" id="{D242E678-8652-4C8F-A9E6-92E77EFCC92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84" name="Freeform 13">
                <a:extLst>
                  <a:ext uri="{FF2B5EF4-FFF2-40B4-BE49-F238E27FC236}">
                    <a16:creationId xmlns:a16="http://schemas.microsoft.com/office/drawing/2014/main" id="{ACC93D24-E498-4606-963A-3666B19236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85" name="Freeform 14">
                <a:extLst>
                  <a:ext uri="{FF2B5EF4-FFF2-40B4-BE49-F238E27FC236}">
                    <a16:creationId xmlns:a16="http://schemas.microsoft.com/office/drawing/2014/main" id="{AA4821B1-BC64-404A-A60F-21DD1D73B64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86" name="Freeform 15">
                <a:extLst>
                  <a:ext uri="{FF2B5EF4-FFF2-40B4-BE49-F238E27FC236}">
                    <a16:creationId xmlns:a16="http://schemas.microsoft.com/office/drawing/2014/main" id="{BB7B10B1-8F28-40DD-9070-C3A8B66DF1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87" name="Freeform 16">
                <a:extLst>
                  <a:ext uri="{FF2B5EF4-FFF2-40B4-BE49-F238E27FC236}">
                    <a16:creationId xmlns:a16="http://schemas.microsoft.com/office/drawing/2014/main" id="{CD98CD83-2903-4BF0-92D8-3AEBA4C68D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88" name="Untertitel 2">
            <a:extLst>
              <a:ext uri="{FF2B5EF4-FFF2-40B4-BE49-F238E27FC236}">
                <a16:creationId xmlns:a16="http://schemas.microsoft.com/office/drawing/2014/main" id="{B182D324-706C-4B4B-B0E1-762F7047236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1487488" y="3731319"/>
            <a:ext cx="4608513" cy="555166"/>
          </a:xfrm>
        </p:spPr>
        <p:txBody>
          <a:bodyPr anchor="t"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latin typeface="+mj-lt"/>
              </a:defRPr>
            </a:lvl5pPr>
            <a:lvl6pPr marL="0" indent="0" algn="l">
              <a:buNone/>
              <a:defRPr sz="1600">
                <a:latin typeface="+mj-lt"/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1600">
                <a:latin typeface="+mj-lt"/>
              </a:defRPr>
            </a:lvl8pPr>
            <a:lvl9pPr marL="0" indent="0" algn="l">
              <a:buNone/>
              <a:defRPr sz="1600">
                <a:latin typeface="+mj-lt"/>
              </a:defRPr>
            </a:lvl9pPr>
          </a:lstStyle>
          <a:p>
            <a:pPr lvl="0"/>
            <a:r>
              <a:rPr lang="de-DE"/>
              <a:t>Ansprechpartner</a:t>
            </a:r>
          </a:p>
        </p:txBody>
      </p:sp>
      <p:sp>
        <p:nvSpPr>
          <p:cNvPr id="89" name="Datumsplatzhalter 2">
            <a:extLst>
              <a:ext uri="{FF2B5EF4-FFF2-40B4-BE49-F238E27FC236}">
                <a16:creationId xmlns:a16="http://schemas.microsoft.com/office/drawing/2014/main" id="{EAB13623-1E61-49E9-86E6-69D66849C70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160919" y="6991314"/>
            <a:ext cx="457993" cy="101671"/>
          </a:xfrm>
        </p:spPr>
        <p:txBody>
          <a:bodyPr/>
          <a:lstStyle/>
          <a:p>
            <a:pPr algn="r"/>
            <a:fld id="{19B3ACF8-302C-4F8F-97D0-85A4AA1186DD}" type="datetime1">
              <a:rPr lang="de-DE" smtClean="0"/>
              <a:t>2022-01-13</a:t>
            </a:fld>
            <a:endParaRPr lang="de-DE"/>
          </a:p>
        </p:txBody>
      </p:sp>
      <p:sp>
        <p:nvSpPr>
          <p:cNvPr id="90" name="Fußzeilenplatzhalter 3">
            <a:extLst>
              <a:ext uri="{FF2B5EF4-FFF2-40B4-BE49-F238E27FC236}">
                <a16:creationId xmlns:a16="http://schemas.microsoft.com/office/drawing/2014/main" id="{959B466E-EFC2-4535-8E5D-8512F1C135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401051" y="6991314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1" name="Foliennummernplatzhalter 5">
            <a:extLst>
              <a:ext uri="{FF2B5EF4-FFF2-40B4-BE49-F238E27FC236}">
                <a16:creationId xmlns:a16="http://schemas.microsoft.com/office/drawing/2014/main" id="{92C05B7D-E310-4914-AD1E-CD201C37A8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25538" y="6991314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2" name="Textfeld 91">
            <a:extLst>
              <a:ext uri="{FF2B5EF4-FFF2-40B4-BE49-F238E27FC236}">
                <a16:creationId xmlns:a16="http://schemas.microsoft.com/office/drawing/2014/main" id="{7CB73F9C-7404-4DF7-9BA2-F74C112F24E2}"/>
              </a:ext>
            </a:extLst>
          </p:cNvPr>
          <p:cNvSpPr txBox="1">
            <a:spLocks/>
          </p:cNvSpPr>
          <p:nvPr userDrawn="1"/>
        </p:nvSpPr>
        <p:spPr>
          <a:xfrm>
            <a:off x="1487489" y="2825750"/>
            <a:ext cx="4608514" cy="1216025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lvl1pPr lvl="0">
              <a:lnSpc>
                <a:spcPct val="80000"/>
              </a:lnSpc>
              <a:spcBef>
                <a:spcPct val="0"/>
              </a:spcBef>
              <a:buNone/>
              <a:defRPr lang="de-DE" sz="5400" baseline="0" dirty="0">
                <a:latin typeface="Officina Sans ITC Pro Medium" panose="020C0606030503020204" pitchFamily="34" charset="0"/>
                <a:ea typeface="Inter Medium" panose="020B0502030000000004" pitchFamily="34" charset="0"/>
              </a:defRPr>
            </a:lvl1pPr>
            <a:lvl2pPr>
              <a:lnSpc>
                <a:spcPct val="80000"/>
              </a:lnSpc>
              <a:defRPr sz="5400" baseline="0">
                <a:latin typeface="+mj-lt"/>
              </a:defRPr>
            </a:lvl2pPr>
            <a:lvl3pPr>
              <a:lnSpc>
                <a:spcPct val="80000"/>
              </a:lnSpc>
              <a:defRPr sz="5400" baseline="0">
                <a:latin typeface="+mj-lt"/>
              </a:defRPr>
            </a:lvl3pPr>
            <a:lvl4pPr>
              <a:lnSpc>
                <a:spcPct val="80000"/>
              </a:lnSpc>
              <a:defRPr sz="5400" b="0" baseline="0">
                <a:latin typeface="+mj-lt"/>
              </a:defRPr>
            </a:lvl4pPr>
            <a:lvl5pPr>
              <a:lnSpc>
                <a:spcPct val="80000"/>
              </a:lnSpc>
              <a:defRPr sz="5400" baseline="0">
                <a:latin typeface="+mj-lt"/>
              </a:defRPr>
            </a:lvl5pPr>
            <a:lvl6pPr>
              <a:lnSpc>
                <a:spcPct val="80000"/>
              </a:lnSpc>
              <a:defRPr sz="5400" baseline="0">
                <a:latin typeface="+mj-lt"/>
              </a:defRPr>
            </a:lvl6pPr>
            <a:lvl7pPr>
              <a:lnSpc>
                <a:spcPct val="80000"/>
              </a:lnSpc>
              <a:defRPr sz="5400" baseline="0">
                <a:latin typeface="+mj-lt"/>
              </a:defRPr>
            </a:lvl7pPr>
            <a:lvl8pPr>
              <a:lnSpc>
                <a:spcPct val="80000"/>
              </a:lnSpc>
              <a:defRPr sz="5400" baseline="0">
                <a:latin typeface="+mj-lt"/>
              </a:defRPr>
            </a:lvl8pPr>
            <a:lvl9pPr>
              <a:lnSpc>
                <a:spcPct val="80000"/>
              </a:lnSpc>
              <a:defRPr sz="5400" baseline="0">
                <a:latin typeface="+mj-lt"/>
              </a:defRPr>
            </a:lvl9pPr>
          </a:lstStyle>
          <a:p>
            <a:pPr lvl="0"/>
            <a:r>
              <a:rPr lang="de-DE" noProof="0"/>
              <a:t>Kontakt</a:t>
            </a:r>
          </a:p>
        </p:txBody>
      </p:sp>
      <p:sp>
        <p:nvSpPr>
          <p:cNvPr id="93" name="Textfeld 92">
            <a:extLst>
              <a:ext uri="{FF2B5EF4-FFF2-40B4-BE49-F238E27FC236}">
                <a16:creationId xmlns:a16="http://schemas.microsoft.com/office/drawing/2014/main" id="{94EFD995-85F2-4B7B-A60A-28EA9366F6B3}"/>
              </a:ext>
            </a:extLst>
          </p:cNvPr>
          <p:cNvSpPr txBox="1">
            <a:spLocks/>
          </p:cNvSpPr>
          <p:nvPr userDrawn="1"/>
        </p:nvSpPr>
        <p:spPr>
          <a:xfrm>
            <a:off x="1487488" y="4286485"/>
            <a:ext cx="4608513" cy="189275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90000"/>
              <a:buFont typeface="Inter Semi Bold" panose="020B0702030000000004" pitchFamily="34" charset="0"/>
              <a:buNone/>
              <a:defRPr lang="de-DE" sz="1600" b="0" dirty="0">
                <a:latin typeface="+mj-lt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tabLst/>
              <a:defRPr sz="1600" b="0"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defRPr sz="1600" b="0">
                <a:latin typeface="+mj-lt"/>
              </a:defRPr>
            </a:lvl5pPr>
            <a:lvl6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8pPr>
            <a:lvl9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9pPr>
          </a:lstStyle>
          <a:p>
            <a:pPr lvl="0">
              <a:spcAft>
                <a:spcPts val="1200"/>
              </a:spcAft>
            </a:pPr>
            <a:r>
              <a:rPr lang="de-DE" noProof="0" err="1">
                <a:latin typeface="+mn-lt"/>
              </a:rPr>
              <a:t>LichtBlick</a:t>
            </a:r>
            <a:r>
              <a:rPr lang="de-DE" noProof="0">
                <a:latin typeface="+mn-lt"/>
              </a:rPr>
              <a:t> SE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Zirkusweg 6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20359 Hamburg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Telefon: 040-63 60 0</a:t>
            </a:r>
          </a:p>
          <a:p>
            <a:pPr lvl="0"/>
            <a:r>
              <a:rPr lang="de-DE" noProof="0">
                <a:latin typeface="+mn-lt"/>
              </a:rPr>
              <a:t>info@lichtblick.de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www.lichtblick.de</a:t>
            </a:r>
          </a:p>
        </p:txBody>
      </p:sp>
    </p:spTree>
    <p:extLst>
      <p:ext uri="{BB962C8B-B14F-4D97-AF65-F5344CB8AC3E}">
        <p14:creationId xmlns:p14="http://schemas.microsoft.com/office/powerpoint/2010/main" val="1582667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hteck 22">
            <a:extLst>
              <a:ext uri="{FF2B5EF4-FFF2-40B4-BE49-F238E27FC236}">
                <a16:creationId xmlns:a16="http://schemas.microsoft.com/office/drawing/2014/main" id="{435B935F-3CE1-426B-ACBB-CC856A95BE08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26" name="Bildplatzhalter 25">
            <a:extLst>
              <a:ext uri="{FF2B5EF4-FFF2-40B4-BE49-F238E27FC236}">
                <a16:creationId xmlns:a16="http://schemas.microsoft.com/office/drawing/2014/main" id="{8CCD7F9C-96EA-486E-A746-640CF133984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401050 w 12192000"/>
              <a:gd name="connsiteY3" fmla="*/ 6858000 h 6858000"/>
              <a:gd name="connsiteX4" fmla="*/ 8401050 w 12192000"/>
              <a:gd name="connsiteY4" fmla="*/ 3420567 h 6858000"/>
              <a:gd name="connsiteX5" fmla="*/ 7164883 w 12192000"/>
              <a:gd name="connsiteY5" fmla="*/ 2184400 h 6858000"/>
              <a:gd name="connsiteX6" fmla="*/ 0 w 12192000"/>
              <a:gd name="connsiteY6" fmla="*/ 21844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401050" y="6858000"/>
                </a:lnTo>
                <a:lnTo>
                  <a:pt x="8401050" y="3420567"/>
                </a:lnTo>
                <a:cubicBezTo>
                  <a:pt x="8401050" y="2737851"/>
                  <a:pt x="7847599" y="2184400"/>
                  <a:pt x="7164883" y="2184400"/>
                </a:cubicBezTo>
                <a:lnTo>
                  <a:pt x="0" y="218440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C42ABD01-4783-465B-922D-9C11AEBC2FF1}"/>
              </a:ext>
            </a:extLst>
          </p:cNvPr>
          <p:cNvGrpSpPr/>
          <p:nvPr userDrawn="1"/>
        </p:nvGrpSpPr>
        <p:grpSpPr>
          <a:xfrm>
            <a:off x="1487485" y="2887661"/>
            <a:ext cx="1512888" cy="403647"/>
            <a:chOff x="464743" y="1368699"/>
            <a:chExt cx="2380058" cy="635012"/>
          </a:xfrm>
        </p:grpSpPr>
        <p:sp>
          <p:nvSpPr>
            <p:cNvPr id="28" name="Oval 5">
              <a:extLst>
                <a:ext uri="{FF2B5EF4-FFF2-40B4-BE49-F238E27FC236}">
                  <a16:creationId xmlns:a16="http://schemas.microsoft.com/office/drawing/2014/main" id="{2ECC3510-0BDD-416D-A711-A8567EB76D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6B842A0A-4FAF-4A91-9C17-60CBF9EE7EE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3" name="Gruppieren 32">
              <a:extLst>
                <a:ext uri="{FF2B5EF4-FFF2-40B4-BE49-F238E27FC236}">
                  <a16:creationId xmlns:a16="http://schemas.microsoft.com/office/drawing/2014/main" id="{B34D0E4F-ABE3-42EE-B8F4-00F4533D967A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35" name="Freeform 7">
                <a:extLst>
                  <a:ext uri="{FF2B5EF4-FFF2-40B4-BE49-F238E27FC236}">
                    <a16:creationId xmlns:a16="http://schemas.microsoft.com/office/drawing/2014/main" id="{8EBFC249-1DCC-4F3D-A11B-EDEF5AC3B1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8">
                <a:extLst>
                  <a:ext uri="{FF2B5EF4-FFF2-40B4-BE49-F238E27FC236}">
                    <a16:creationId xmlns:a16="http://schemas.microsoft.com/office/drawing/2014/main" id="{4FACFBD1-3F5B-4518-B022-9D8A8A40C80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9">
                <a:extLst>
                  <a:ext uri="{FF2B5EF4-FFF2-40B4-BE49-F238E27FC236}">
                    <a16:creationId xmlns:a16="http://schemas.microsoft.com/office/drawing/2014/main" id="{4A657C7E-1E53-418B-BCD7-F37ED08DA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0">
                <a:extLst>
                  <a:ext uri="{FF2B5EF4-FFF2-40B4-BE49-F238E27FC236}">
                    <a16:creationId xmlns:a16="http://schemas.microsoft.com/office/drawing/2014/main" id="{AD9FB43F-10EF-44CF-B17E-0D49597C72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1">
                <a:extLst>
                  <a:ext uri="{FF2B5EF4-FFF2-40B4-BE49-F238E27FC236}">
                    <a16:creationId xmlns:a16="http://schemas.microsoft.com/office/drawing/2014/main" id="{E72A5C80-62B0-40B5-9017-754BA20921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2">
                <a:extLst>
                  <a:ext uri="{FF2B5EF4-FFF2-40B4-BE49-F238E27FC236}">
                    <a16:creationId xmlns:a16="http://schemas.microsoft.com/office/drawing/2014/main" id="{162EC822-8A93-473A-8293-398425458BA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3">
                <a:extLst>
                  <a:ext uri="{FF2B5EF4-FFF2-40B4-BE49-F238E27FC236}">
                    <a16:creationId xmlns:a16="http://schemas.microsoft.com/office/drawing/2014/main" id="{C93EC3FC-B54D-4A73-99FE-3C7EAA64EA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4">
                <a:extLst>
                  <a:ext uri="{FF2B5EF4-FFF2-40B4-BE49-F238E27FC236}">
                    <a16:creationId xmlns:a16="http://schemas.microsoft.com/office/drawing/2014/main" id="{C2F3DE1D-0C56-48C9-9F5F-02D6F7C7105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3" name="Freeform 15">
                <a:extLst>
                  <a:ext uri="{FF2B5EF4-FFF2-40B4-BE49-F238E27FC236}">
                    <a16:creationId xmlns:a16="http://schemas.microsoft.com/office/drawing/2014/main" id="{A940E741-2C0C-4F2A-94BA-0F8C57F4A0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4" name="Freeform 16">
                <a:extLst>
                  <a:ext uri="{FF2B5EF4-FFF2-40B4-BE49-F238E27FC236}">
                    <a16:creationId xmlns:a16="http://schemas.microsoft.com/office/drawing/2014/main" id="{C1F984D3-FF1A-461B-A68D-0A55217AD9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45" name="Datumsplatzhalter 2">
            <a:extLst>
              <a:ext uri="{FF2B5EF4-FFF2-40B4-BE49-F238E27FC236}">
                <a16:creationId xmlns:a16="http://schemas.microsoft.com/office/drawing/2014/main" id="{5B6BE4A4-94C5-4665-9820-26D2838597AD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11160919" y="7101333"/>
            <a:ext cx="457993" cy="101671"/>
          </a:xfrm>
        </p:spPr>
        <p:txBody>
          <a:bodyPr/>
          <a:lstStyle/>
          <a:p>
            <a:pPr algn="r"/>
            <a:fld id="{E09360F1-A73E-41C7-9157-E583EE6F5F34}" type="datetime1">
              <a:rPr lang="de-DE" smtClean="0"/>
              <a:t>2022-01-13</a:t>
            </a:fld>
            <a:endParaRPr lang="de-DE"/>
          </a:p>
        </p:txBody>
      </p:sp>
      <p:sp>
        <p:nvSpPr>
          <p:cNvPr id="46" name="Fußzeilenplatzhalter 3">
            <a:extLst>
              <a:ext uri="{FF2B5EF4-FFF2-40B4-BE49-F238E27FC236}">
                <a16:creationId xmlns:a16="http://schemas.microsoft.com/office/drawing/2014/main" id="{41DFDEE5-C952-4E85-A328-F9EC1FD0F4A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8401051" y="7101333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47" name="Foliennummernplatzhalter 4">
            <a:extLst>
              <a:ext uri="{FF2B5EF4-FFF2-40B4-BE49-F238E27FC236}">
                <a16:creationId xmlns:a16="http://schemas.microsoft.com/office/drawing/2014/main" id="{C0FB04B6-F1B9-44FC-A564-6FFFB8F80BE4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11725538" y="7101333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8" name="Untertitel 2">
            <a:extLst>
              <a:ext uri="{FF2B5EF4-FFF2-40B4-BE49-F238E27FC236}">
                <a16:creationId xmlns:a16="http://schemas.microsoft.com/office/drawing/2014/main" id="{C6B27147-8B2D-4C17-AA77-D3565300D01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1487485" y="4041776"/>
            <a:ext cx="4608513" cy="555166"/>
          </a:xfrm>
        </p:spPr>
        <p:txBody>
          <a:bodyPr anchor="t"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latin typeface="+mj-lt"/>
              </a:defRPr>
            </a:lvl5pPr>
            <a:lvl6pPr marL="0" indent="0" algn="l">
              <a:buNone/>
              <a:defRPr sz="1600">
                <a:latin typeface="+mj-lt"/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1600">
                <a:latin typeface="+mj-lt"/>
              </a:defRPr>
            </a:lvl8pPr>
            <a:lvl9pPr marL="0" indent="0" algn="l">
              <a:buNone/>
              <a:defRPr sz="1600">
                <a:latin typeface="+mj-lt"/>
              </a:defRPr>
            </a:lvl9pPr>
          </a:lstStyle>
          <a:p>
            <a:pPr lvl="0"/>
            <a:r>
              <a:rPr lang="de-DE"/>
              <a:t>Ansprechpartner</a:t>
            </a:r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CBA710CE-10B5-4C03-B16D-7A91DA4405F3}"/>
              </a:ext>
            </a:extLst>
          </p:cNvPr>
          <p:cNvSpPr txBox="1">
            <a:spLocks/>
          </p:cNvSpPr>
          <p:nvPr userDrawn="1"/>
        </p:nvSpPr>
        <p:spPr>
          <a:xfrm>
            <a:off x="1487486" y="3458633"/>
            <a:ext cx="4608514" cy="58314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lvl1pPr lvl="0">
              <a:lnSpc>
                <a:spcPct val="80000"/>
              </a:lnSpc>
              <a:spcBef>
                <a:spcPct val="0"/>
              </a:spcBef>
              <a:buNone/>
              <a:defRPr lang="de-DE" sz="5400" baseline="0" dirty="0">
                <a:latin typeface="Officina Sans ITC Pro Medium" panose="020C0606030503020204" pitchFamily="34" charset="0"/>
                <a:ea typeface="Inter Medium" panose="020B0502030000000004" pitchFamily="34" charset="0"/>
              </a:defRPr>
            </a:lvl1pPr>
            <a:lvl2pPr>
              <a:lnSpc>
                <a:spcPct val="80000"/>
              </a:lnSpc>
              <a:defRPr sz="5400" baseline="0">
                <a:latin typeface="+mj-lt"/>
              </a:defRPr>
            </a:lvl2pPr>
            <a:lvl3pPr>
              <a:lnSpc>
                <a:spcPct val="80000"/>
              </a:lnSpc>
              <a:defRPr sz="5400" baseline="0">
                <a:latin typeface="+mj-lt"/>
              </a:defRPr>
            </a:lvl3pPr>
            <a:lvl4pPr>
              <a:lnSpc>
                <a:spcPct val="80000"/>
              </a:lnSpc>
              <a:defRPr sz="5400" b="0" baseline="0">
                <a:latin typeface="+mj-lt"/>
              </a:defRPr>
            </a:lvl4pPr>
            <a:lvl5pPr>
              <a:lnSpc>
                <a:spcPct val="80000"/>
              </a:lnSpc>
              <a:defRPr sz="5400" baseline="0">
                <a:latin typeface="+mj-lt"/>
              </a:defRPr>
            </a:lvl5pPr>
            <a:lvl6pPr>
              <a:lnSpc>
                <a:spcPct val="80000"/>
              </a:lnSpc>
              <a:defRPr sz="5400" baseline="0">
                <a:latin typeface="+mj-lt"/>
              </a:defRPr>
            </a:lvl6pPr>
            <a:lvl7pPr>
              <a:lnSpc>
                <a:spcPct val="80000"/>
              </a:lnSpc>
              <a:defRPr sz="5400" baseline="0">
                <a:latin typeface="+mj-lt"/>
              </a:defRPr>
            </a:lvl7pPr>
            <a:lvl8pPr>
              <a:lnSpc>
                <a:spcPct val="80000"/>
              </a:lnSpc>
              <a:defRPr sz="5400" baseline="0">
                <a:latin typeface="+mj-lt"/>
              </a:defRPr>
            </a:lvl8pPr>
            <a:lvl9pPr>
              <a:lnSpc>
                <a:spcPct val="80000"/>
              </a:lnSpc>
              <a:defRPr sz="5400" baseline="0">
                <a:latin typeface="+mj-lt"/>
              </a:defRPr>
            </a:lvl9pPr>
          </a:lstStyle>
          <a:p>
            <a:pPr lvl="0"/>
            <a:r>
              <a:rPr lang="de-DE" noProof="0"/>
              <a:t>Kontakt</a:t>
            </a:r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87030544-A8FA-475D-8C9E-1A214F690BF6}"/>
              </a:ext>
            </a:extLst>
          </p:cNvPr>
          <p:cNvSpPr txBox="1">
            <a:spLocks/>
          </p:cNvSpPr>
          <p:nvPr userDrawn="1"/>
        </p:nvSpPr>
        <p:spPr>
          <a:xfrm>
            <a:off x="1487485" y="4596942"/>
            <a:ext cx="4608513" cy="189275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90000"/>
              <a:buFont typeface="Inter Semi Bold" panose="020B0702030000000004" pitchFamily="34" charset="0"/>
              <a:buNone/>
              <a:defRPr lang="de-DE" sz="1600" b="0" dirty="0">
                <a:latin typeface="+mj-lt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tabLst/>
              <a:defRPr sz="1600" b="0"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defRPr sz="1600" b="0">
                <a:latin typeface="+mj-lt"/>
              </a:defRPr>
            </a:lvl5pPr>
            <a:lvl6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8pPr>
            <a:lvl9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9pPr>
          </a:lstStyle>
          <a:p>
            <a:pPr lvl="0">
              <a:spcAft>
                <a:spcPts val="1200"/>
              </a:spcAft>
            </a:pPr>
            <a:r>
              <a:rPr lang="de-DE" noProof="0" err="1"/>
              <a:t>LichtBlick</a:t>
            </a:r>
            <a:r>
              <a:rPr lang="de-DE" noProof="0"/>
              <a:t> SE</a:t>
            </a:r>
            <a:br>
              <a:rPr lang="de-DE" noProof="0"/>
            </a:br>
            <a:r>
              <a:rPr lang="de-DE" noProof="0"/>
              <a:t>Zirkusweg 6</a:t>
            </a:r>
            <a:br>
              <a:rPr lang="de-DE" noProof="0"/>
            </a:br>
            <a:r>
              <a:rPr lang="de-DE" noProof="0"/>
              <a:t>20359 Hamburg</a:t>
            </a:r>
            <a:br>
              <a:rPr lang="de-DE" noProof="0"/>
            </a:br>
            <a:r>
              <a:rPr lang="de-DE" noProof="0"/>
              <a:t>Telefon: 040-63 60 0</a:t>
            </a:r>
          </a:p>
          <a:p>
            <a:pPr lvl="0"/>
            <a:r>
              <a:rPr lang="de-DE" noProof="0"/>
              <a:t>info@lichtblick.de</a:t>
            </a:r>
            <a:br>
              <a:rPr lang="de-DE" noProof="0"/>
            </a:br>
            <a:r>
              <a:rPr lang="de-DE" noProof="0"/>
              <a:t>www.lichtblick.de</a:t>
            </a:r>
          </a:p>
        </p:txBody>
      </p:sp>
    </p:spTree>
    <p:extLst>
      <p:ext uri="{BB962C8B-B14F-4D97-AF65-F5344CB8AC3E}">
        <p14:creationId xmlns:p14="http://schemas.microsoft.com/office/powerpoint/2010/main" val="3141858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EB1863D8-DB63-4C22-AAA7-72EDC9CB82FD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6EA14A0-3613-4360-88EF-0253BBAD92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27EA239A-2482-4CB8-95E8-04C574A1790E}" type="datetime1">
              <a:rPr lang="de-DE" smtClean="0"/>
              <a:t>2022-01-1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D6DB60C-42BE-40BD-8FF3-383B62B0E6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3053749-1ECC-4AB5-901B-624404F25B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8A1FF1D3-3173-46C3-A244-B65A4C046D40}"/>
              </a:ext>
            </a:extLst>
          </p:cNvPr>
          <p:cNvGrpSpPr/>
          <p:nvPr userDrawn="1"/>
        </p:nvGrpSpPr>
        <p:grpSpPr>
          <a:xfrm>
            <a:off x="10990764" y="364362"/>
            <a:ext cx="867864" cy="231551"/>
            <a:chOff x="464743" y="1368699"/>
            <a:chExt cx="2380058" cy="635012"/>
          </a:xfrm>
        </p:grpSpPr>
        <p:sp>
          <p:nvSpPr>
            <p:cNvPr id="9" name="Oval 5">
              <a:extLst>
                <a:ext uri="{FF2B5EF4-FFF2-40B4-BE49-F238E27FC236}">
                  <a16:creationId xmlns:a16="http://schemas.microsoft.com/office/drawing/2014/main" id="{EDACADA7-20C9-4408-BEAA-E5A9DD1BB5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1908261F-7D21-4331-9B51-D5EA24EADD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1" name="Gruppieren 10">
              <a:extLst>
                <a:ext uri="{FF2B5EF4-FFF2-40B4-BE49-F238E27FC236}">
                  <a16:creationId xmlns:a16="http://schemas.microsoft.com/office/drawing/2014/main" id="{587CD074-2D91-4FBC-9D30-00760237743D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12" name="Freeform 7">
                <a:extLst>
                  <a:ext uri="{FF2B5EF4-FFF2-40B4-BE49-F238E27FC236}">
                    <a16:creationId xmlns:a16="http://schemas.microsoft.com/office/drawing/2014/main" id="{7A8C561C-87CE-45E1-9CFA-9512373D99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3" name="Freeform 8">
                <a:extLst>
                  <a:ext uri="{FF2B5EF4-FFF2-40B4-BE49-F238E27FC236}">
                    <a16:creationId xmlns:a16="http://schemas.microsoft.com/office/drawing/2014/main" id="{72EC9B22-1CF8-4F2A-8E57-58A39ABCA97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4" name="Freeform 9">
                <a:extLst>
                  <a:ext uri="{FF2B5EF4-FFF2-40B4-BE49-F238E27FC236}">
                    <a16:creationId xmlns:a16="http://schemas.microsoft.com/office/drawing/2014/main" id="{AC15ECBF-DF59-45DD-AE5F-B76DA979A4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5" name="Freeform 10">
                <a:extLst>
                  <a:ext uri="{FF2B5EF4-FFF2-40B4-BE49-F238E27FC236}">
                    <a16:creationId xmlns:a16="http://schemas.microsoft.com/office/drawing/2014/main" id="{D73A98C9-6BEB-4661-9643-E74C5A30FA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6" name="Freeform 11">
                <a:extLst>
                  <a:ext uri="{FF2B5EF4-FFF2-40B4-BE49-F238E27FC236}">
                    <a16:creationId xmlns:a16="http://schemas.microsoft.com/office/drawing/2014/main" id="{413BD688-67B3-4777-AE5E-47FB317A07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12">
                <a:extLst>
                  <a:ext uri="{FF2B5EF4-FFF2-40B4-BE49-F238E27FC236}">
                    <a16:creationId xmlns:a16="http://schemas.microsoft.com/office/drawing/2014/main" id="{21D675A5-E087-4E40-92F2-955977DF888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13">
                <a:extLst>
                  <a:ext uri="{FF2B5EF4-FFF2-40B4-BE49-F238E27FC236}">
                    <a16:creationId xmlns:a16="http://schemas.microsoft.com/office/drawing/2014/main" id="{40FB772E-762E-437E-BB51-5DD22DC196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4">
                <a:extLst>
                  <a:ext uri="{FF2B5EF4-FFF2-40B4-BE49-F238E27FC236}">
                    <a16:creationId xmlns:a16="http://schemas.microsoft.com/office/drawing/2014/main" id="{19EF3042-F9D9-42E5-BA79-4A9CD09A5A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5">
                <a:extLst>
                  <a:ext uri="{FF2B5EF4-FFF2-40B4-BE49-F238E27FC236}">
                    <a16:creationId xmlns:a16="http://schemas.microsoft.com/office/drawing/2014/main" id="{EC7CE5F6-A704-449A-BF6A-DEC723415D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6">
                <a:extLst>
                  <a:ext uri="{FF2B5EF4-FFF2-40B4-BE49-F238E27FC236}">
                    <a16:creationId xmlns:a16="http://schemas.microsoft.com/office/drawing/2014/main" id="{BDE56437-557C-4D2A-922C-2208778863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86919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rry_LichtBli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F380F37C-B55F-4B1E-85A9-642BBA4F59BB}"/>
              </a:ext>
            </a:extLst>
          </p:cNvPr>
          <p:cNvGrpSpPr/>
          <p:nvPr userDrawn="1"/>
        </p:nvGrpSpPr>
        <p:grpSpPr bwMode="gray">
          <a:xfrm>
            <a:off x="0" y="0"/>
            <a:ext cx="12192000" cy="6858000"/>
            <a:chOff x="5949952" y="0"/>
            <a:chExt cx="8924928" cy="6858000"/>
          </a:xfrm>
        </p:grpSpPr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51D96DC5-264D-4F98-8B9F-FEF747EDC747}"/>
                </a:ext>
              </a:extLst>
            </p:cNvPr>
            <p:cNvSpPr/>
            <p:nvPr userDrawn="1"/>
          </p:nvSpPr>
          <p:spPr bwMode="gray">
            <a:xfrm>
              <a:off x="5949952" y="0"/>
              <a:ext cx="1487488" cy="6858000"/>
            </a:xfrm>
            <a:prstGeom prst="rect">
              <a:avLst/>
            </a:pr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E33FDE03-4E40-458F-A6DA-F24ECF42F971}"/>
                </a:ext>
              </a:extLst>
            </p:cNvPr>
            <p:cNvSpPr/>
            <p:nvPr userDrawn="1"/>
          </p:nvSpPr>
          <p:spPr bwMode="gray">
            <a:xfrm>
              <a:off x="8924928" y="0"/>
              <a:ext cx="1487488" cy="6858000"/>
            </a:xfrm>
            <a:prstGeom prst="rect">
              <a:avLst/>
            </a:prstGeom>
            <a:solidFill>
              <a:schemeClr val="accent3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DC5EB745-0858-49CC-A0FE-29CBC776FA9E}"/>
                </a:ext>
              </a:extLst>
            </p:cNvPr>
            <p:cNvSpPr/>
            <p:nvPr userDrawn="1"/>
          </p:nvSpPr>
          <p:spPr bwMode="gray">
            <a:xfrm>
              <a:off x="7437440" y="0"/>
              <a:ext cx="1487488" cy="6858000"/>
            </a:xfrm>
            <a:prstGeom prst="rect">
              <a:avLst/>
            </a:prstGeom>
            <a:solidFill>
              <a:schemeClr val="accent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B3533DD8-1C73-4E77-A25E-8DB502C51672}"/>
                </a:ext>
              </a:extLst>
            </p:cNvPr>
            <p:cNvSpPr/>
            <p:nvPr userDrawn="1"/>
          </p:nvSpPr>
          <p:spPr bwMode="gray">
            <a:xfrm>
              <a:off x="10412416" y="0"/>
              <a:ext cx="1487488" cy="6858000"/>
            </a:xfrm>
            <a:prstGeom prst="rect">
              <a:avLst/>
            </a:prstGeom>
            <a:solidFill>
              <a:schemeClr val="accent4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D1547A31-ABF2-495E-9F4B-8DFBF25E488D}"/>
                </a:ext>
              </a:extLst>
            </p:cNvPr>
            <p:cNvSpPr/>
            <p:nvPr userDrawn="1"/>
          </p:nvSpPr>
          <p:spPr bwMode="gray">
            <a:xfrm>
              <a:off x="11899905" y="0"/>
              <a:ext cx="1487488" cy="6858000"/>
            </a:xfrm>
            <a:prstGeom prst="rect">
              <a:avLst/>
            </a:prstGeom>
            <a:solidFill>
              <a:schemeClr val="accent5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3EB218CB-88C3-468E-AF95-E8FE5922C203}"/>
                </a:ext>
              </a:extLst>
            </p:cNvPr>
            <p:cNvSpPr/>
            <p:nvPr userDrawn="1"/>
          </p:nvSpPr>
          <p:spPr bwMode="gray">
            <a:xfrm>
              <a:off x="13387392" y="0"/>
              <a:ext cx="1487488" cy="685800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31" name="Datumsplatzhalter 1">
            <a:extLst>
              <a:ext uri="{FF2B5EF4-FFF2-40B4-BE49-F238E27FC236}">
                <a16:creationId xmlns:a16="http://schemas.microsoft.com/office/drawing/2014/main" id="{1A4D56CF-0343-4911-9D23-19D20CB0D9A9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11160919" y="6491733"/>
            <a:ext cx="457993" cy="101671"/>
          </a:xfrm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r"/>
            <a:fld id="{73A8ED50-DABE-4616-87EA-B87E0E1B48F2}" type="datetime1">
              <a:rPr lang="de-DE" smtClean="0"/>
              <a:t>2022-01-13</a:t>
            </a:fld>
            <a:endParaRPr lang="de-DE"/>
          </a:p>
        </p:txBody>
      </p:sp>
      <p:sp>
        <p:nvSpPr>
          <p:cNvPr id="32" name="Fußzeilenplatzhalter 5">
            <a:extLst>
              <a:ext uri="{FF2B5EF4-FFF2-40B4-BE49-F238E27FC236}">
                <a16:creationId xmlns:a16="http://schemas.microsoft.com/office/drawing/2014/main" id="{521C6FE0-7BD8-4269-AF19-F3EF4843B3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8401051" y="6491733"/>
            <a:ext cx="2522534" cy="101671"/>
          </a:xfrm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de-DE"/>
              <a:t>Risk Report 2021 M03</a:t>
            </a:r>
          </a:p>
        </p:txBody>
      </p:sp>
      <p:sp>
        <p:nvSpPr>
          <p:cNvPr id="33" name="Foliennummernplatzhalter 6">
            <a:extLst>
              <a:ext uri="{FF2B5EF4-FFF2-40B4-BE49-F238E27FC236}">
                <a16:creationId xmlns:a16="http://schemas.microsoft.com/office/drawing/2014/main" id="{ABB9D1A2-0A49-42C5-96D0-40A3E4DE8F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11725538" y="6491733"/>
            <a:ext cx="191824" cy="101671"/>
          </a:xfrm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04314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Freihandform: Form 33">
            <a:extLst>
              <a:ext uri="{FF2B5EF4-FFF2-40B4-BE49-F238E27FC236}">
                <a16:creationId xmlns:a16="http://schemas.microsoft.com/office/drawing/2014/main" id="{7A88C1D1-625C-4F4E-BECD-5CB70DEB7CC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191998 w 12192000"/>
              <a:gd name="connsiteY3" fmla="*/ 6858000 h 6858000"/>
              <a:gd name="connsiteX4" fmla="*/ 12191998 w 12192000"/>
              <a:gd name="connsiteY4" fmla="*/ 3429000 h 6858000"/>
              <a:gd name="connsiteX5" fmla="*/ 8518560 w 12192000"/>
              <a:gd name="connsiteY5" fmla="*/ 3429000 h 6858000"/>
              <a:gd name="connsiteX6" fmla="*/ 7608881 w 12192000"/>
              <a:gd name="connsiteY6" fmla="*/ 4338679 h 6858000"/>
              <a:gd name="connsiteX7" fmla="*/ 7608881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91998" y="6858000"/>
                </a:lnTo>
                <a:lnTo>
                  <a:pt x="12191998" y="3429000"/>
                </a:lnTo>
                <a:lnTo>
                  <a:pt x="8518560" y="3429000"/>
                </a:lnTo>
                <a:cubicBezTo>
                  <a:pt x="8016158" y="3429000"/>
                  <a:pt x="7608881" y="3836277"/>
                  <a:pt x="7608881" y="4338679"/>
                </a:cubicBezTo>
                <a:lnTo>
                  <a:pt x="760888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226" y="2825750"/>
            <a:ext cx="6337300" cy="1216025"/>
          </a:xfrm>
        </p:spPr>
        <p:txBody>
          <a:bodyPr anchor="t"/>
          <a:lstStyle>
            <a:lvl1pPr>
              <a:lnSpc>
                <a:spcPct val="80000"/>
              </a:lnSpc>
              <a:defRPr sz="5400"/>
            </a:lvl1pPr>
            <a:lvl2pPr>
              <a:lnSpc>
                <a:spcPct val="80000"/>
              </a:lnSpc>
              <a:defRPr sz="5400"/>
            </a:lvl2pPr>
            <a:lvl3pPr>
              <a:lnSpc>
                <a:spcPct val="80000"/>
              </a:lnSpc>
              <a:defRPr sz="5400"/>
            </a:lvl3pPr>
            <a:lvl4pPr>
              <a:lnSpc>
                <a:spcPct val="80000"/>
              </a:lnSpc>
              <a:defRPr sz="5400"/>
            </a:lvl4pPr>
            <a:lvl5pPr>
              <a:lnSpc>
                <a:spcPct val="80000"/>
              </a:lnSpc>
              <a:defRPr sz="5400"/>
            </a:lvl5pPr>
            <a:lvl6pPr>
              <a:lnSpc>
                <a:spcPct val="80000"/>
              </a:lnSpc>
              <a:defRPr sz="5400"/>
            </a:lvl6pPr>
            <a:lvl7pPr>
              <a:lnSpc>
                <a:spcPct val="80000"/>
              </a:lnSpc>
              <a:defRPr sz="5400"/>
            </a:lvl7pPr>
            <a:lvl8pPr>
              <a:lnSpc>
                <a:spcPct val="80000"/>
              </a:lnSpc>
              <a:defRPr sz="5400"/>
            </a:lvl8pPr>
            <a:lvl9pPr>
              <a:lnSpc>
                <a:spcPct val="80000"/>
              </a:lnSpc>
              <a:defRPr sz="5400"/>
            </a:lvl9pPr>
          </a:lstStyle>
          <a:p>
            <a:pPr lvl="0"/>
            <a:r>
              <a:rPr lang="de-DE"/>
              <a:t>Präsentationstitel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16C1E5B9-FEB6-4AA6-BD6B-F927D33B7586}"/>
              </a:ext>
            </a:extLst>
          </p:cNvPr>
          <p:cNvGrpSpPr/>
          <p:nvPr userDrawn="1"/>
        </p:nvGrpSpPr>
        <p:grpSpPr>
          <a:xfrm>
            <a:off x="911225" y="1319215"/>
            <a:ext cx="1439910" cy="384176"/>
            <a:chOff x="464743" y="1368699"/>
            <a:chExt cx="2380058" cy="635012"/>
          </a:xfrm>
        </p:grpSpPr>
        <p:sp>
          <p:nvSpPr>
            <p:cNvPr id="13" name="Oval 5">
              <a:extLst>
                <a:ext uri="{FF2B5EF4-FFF2-40B4-BE49-F238E27FC236}">
                  <a16:creationId xmlns:a16="http://schemas.microsoft.com/office/drawing/2014/main" id="{A63FDF46-9240-4989-8BD0-C8E6ACCDA8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BCEEBEBB-AF39-4FA0-BF2A-C2F67F3089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706779D2-753C-408C-8D8F-2EA69C718621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16" name="Freeform 7">
                <a:extLst>
                  <a:ext uri="{FF2B5EF4-FFF2-40B4-BE49-F238E27FC236}">
                    <a16:creationId xmlns:a16="http://schemas.microsoft.com/office/drawing/2014/main" id="{80064577-26DD-4C45-9CA7-CA84B29940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8">
                <a:extLst>
                  <a:ext uri="{FF2B5EF4-FFF2-40B4-BE49-F238E27FC236}">
                    <a16:creationId xmlns:a16="http://schemas.microsoft.com/office/drawing/2014/main" id="{9D448FEE-A734-446E-B740-78A968A27C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9">
                <a:extLst>
                  <a:ext uri="{FF2B5EF4-FFF2-40B4-BE49-F238E27FC236}">
                    <a16:creationId xmlns:a16="http://schemas.microsoft.com/office/drawing/2014/main" id="{888D8F5D-79D7-4B65-A82D-00FF784BBD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0">
                <a:extLst>
                  <a:ext uri="{FF2B5EF4-FFF2-40B4-BE49-F238E27FC236}">
                    <a16:creationId xmlns:a16="http://schemas.microsoft.com/office/drawing/2014/main" id="{C200D8BD-ED64-4635-B9AE-FBB6DE7A03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1">
                <a:extLst>
                  <a:ext uri="{FF2B5EF4-FFF2-40B4-BE49-F238E27FC236}">
                    <a16:creationId xmlns:a16="http://schemas.microsoft.com/office/drawing/2014/main" id="{4AF606B8-E6F5-4239-AF0E-C3B1CB66F7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2">
                <a:extLst>
                  <a:ext uri="{FF2B5EF4-FFF2-40B4-BE49-F238E27FC236}">
                    <a16:creationId xmlns:a16="http://schemas.microsoft.com/office/drawing/2014/main" id="{4FA34997-3170-4E22-BE0E-39B040570F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3">
                <a:extLst>
                  <a:ext uri="{FF2B5EF4-FFF2-40B4-BE49-F238E27FC236}">
                    <a16:creationId xmlns:a16="http://schemas.microsoft.com/office/drawing/2014/main" id="{E0899F0A-43C2-4A2B-BB23-92FD4E59A0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4">
                <a:extLst>
                  <a:ext uri="{FF2B5EF4-FFF2-40B4-BE49-F238E27FC236}">
                    <a16:creationId xmlns:a16="http://schemas.microsoft.com/office/drawing/2014/main" id="{002B1808-6EF8-43A6-98A3-F218A91060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5">
                <a:extLst>
                  <a:ext uri="{FF2B5EF4-FFF2-40B4-BE49-F238E27FC236}">
                    <a16:creationId xmlns:a16="http://schemas.microsoft.com/office/drawing/2014/main" id="{E469321C-D642-4F96-AE63-CD87201D47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6">
                <a:extLst>
                  <a:ext uri="{FF2B5EF4-FFF2-40B4-BE49-F238E27FC236}">
                    <a16:creationId xmlns:a16="http://schemas.microsoft.com/office/drawing/2014/main" id="{4D226FE2-5036-43B8-8F8D-521582CD79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Textplatzhalter 9">
            <a:extLst>
              <a:ext uri="{FF2B5EF4-FFF2-40B4-BE49-F238E27FC236}">
                <a16:creationId xmlns:a16="http://schemas.microsoft.com/office/drawing/2014/main" id="{A3575644-C415-4736-A0BA-E98385D01B2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85404" y="4483700"/>
            <a:ext cx="4963111" cy="216000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Name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3481B9A9-736B-4492-98F4-CFFBBB93D83D}"/>
              </a:ext>
            </a:extLst>
          </p:cNvPr>
          <p:cNvCxnSpPr>
            <a:cxnSpLocks/>
          </p:cNvCxnSpPr>
          <p:nvPr userDrawn="1"/>
        </p:nvCxnSpPr>
        <p:spPr>
          <a:xfrm>
            <a:off x="2053928" y="4483700"/>
            <a:ext cx="0" cy="17938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hteck: eine Ecke abgerundet 4">
            <a:extLst>
              <a:ext uri="{FF2B5EF4-FFF2-40B4-BE49-F238E27FC236}">
                <a16:creationId xmlns:a16="http://schemas.microsoft.com/office/drawing/2014/main" id="{0BA872EC-5B2E-4929-AD92-88DAB6266A9E}"/>
              </a:ext>
            </a:extLst>
          </p:cNvPr>
          <p:cNvSpPr/>
          <p:nvPr userDrawn="1"/>
        </p:nvSpPr>
        <p:spPr>
          <a:xfrm flipH="1">
            <a:off x="7859179" y="3253843"/>
            <a:ext cx="4343397" cy="3614737"/>
          </a:xfrm>
          <a:prstGeom prst="round1Rect">
            <a:avLst>
              <a:gd name="adj" fmla="val 2652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B75EBC14-2DC1-4EDF-B828-6BD98E3DDCBA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917583" y="4483700"/>
            <a:ext cx="904868" cy="216000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smtClean="0"/>
            </a:lvl1pPr>
          </a:lstStyle>
          <a:p>
            <a:pPr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fld id="{D9001BA7-B254-49B8-82FE-45C0DC25C42D}" type="datetime1">
              <a:rPr lang="de-DE" smtClean="0"/>
              <a:t>2022-01-13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2B6A11DD-5E08-4096-BA7B-A2496C1019C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de-DE"/>
              <a:t>Risk Report 2021 M03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2926201B-F022-402F-AD21-442CBEA104D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68344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apitelfolie Bil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D19BAEC9-FD66-4F21-8513-21AE499E07F3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A9CBC99B-E8C6-4051-A9E9-0C624C40229F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11" name="Oval 5">
              <a:extLst>
                <a:ext uri="{FF2B5EF4-FFF2-40B4-BE49-F238E27FC236}">
                  <a16:creationId xmlns:a16="http://schemas.microsoft.com/office/drawing/2014/main" id="{DED38C07-9A75-471C-B61E-C6B17EDCE2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EBAC15C1-136D-42F8-A7B6-CB480B5AA0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3" name="Gruppieren 12">
              <a:extLst>
                <a:ext uri="{FF2B5EF4-FFF2-40B4-BE49-F238E27FC236}">
                  <a16:creationId xmlns:a16="http://schemas.microsoft.com/office/drawing/2014/main" id="{45361738-16C3-40AC-A788-EA9036EDBAFB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14" name="Freeform 7">
                <a:extLst>
                  <a:ext uri="{FF2B5EF4-FFF2-40B4-BE49-F238E27FC236}">
                    <a16:creationId xmlns:a16="http://schemas.microsoft.com/office/drawing/2014/main" id="{0C5DC918-EA52-4FC3-8A01-3388FE6CFA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5" name="Freeform 8">
                <a:extLst>
                  <a:ext uri="{FF2B5EF4-FFF2-40B4-BE49-F238E27FC236}">
                    <a16:creationId xmlns:a16="http://schemas.microsoft.com/office/drawing/2014/main" id="{ABB1E81B-393E-4C03-A0F0-5DA085524AB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6" name="Freeform 9">
                <a:extLst>
                  <a:ext uri="{FF2B5EF4-FFF2-40B4-BE49-F238E27FC236}">
                    <a16:creationId xmlns:a16="http://schemas.microsoft.com/office/drawing/2014/main" id="{7334091F-5E16-47D4-8265-3B46094438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10">
                <a:extLst>
                  <a:ext uri="{FF2B5EF4-FFF2-40B4-BE49-F238E27FC236}">
                    <a16:creationId xmlns:a16="http://schemas.microsoft.com/office/drawing/2014/main" id="{9FF719ED-D4C1-4360-BAB4-26734998B7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11">
                <a:extLst>
                  <a:ext uri="{FF2B5EF4-FFF2-40B4-BE49-F238E27FC236}">
                    <a16:creationId xmlns:a16="http://schemas.microsoft.com/office/drawing/2014/main" id="{B50B74DF-1EDF-4E89-A0F2-3DE62F5024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2">
                <a:extLst>
                  <a:ext uri="{FF2B5EF4-FFF2-40B4-BE49-F238E27FC236}">
                    <a16:creationId xmlns:a16="http://schemas.microsoft.com/office/drawing/2014/main" id="{B5C0C5D5-9E4D-47B8-811F-7E74CC67DAF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3">
                <a:extLst>
                  <a:ext uri="{FF2B5EF4-FFF2-40B4-BE49-F238E27FC236}">
                    <a16:creationId xmlns:a16="http://schemas.microsoft.com/office/drawing/2014/main" id="{D86D4DD4-8682-4840-A450-295468F320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4">
                <a:extLst>
                  <a:ext uri="{FF2B5EF4-FFF2-40B4-BE49-F238E27FC236}">
                    <a16:creationId xmlns:a16="http://schemas.microsoft.com/office/drawing/2014/main" id="{0DDC3BB0-F3F9-4D74-A613-68E6E9CAF43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5">
                <a:extLst>
                  <a:ext uri="{FF2B5EF4-FFF2-40B4-BE49-F238E27FC236}">
                    <a16:creationId xmlns:a16="http://schemas.microsoft.com/office/drawing/2014/main" id="{529D01BE-1D12-43D9-9580-7DD60A4ABC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6">
                <a:extLst>
                  <a:ext uri="{FF2B5EF4-FFF2-40B4-BE49-F238E27FC236}">
                    <a16:creationId xmlns:a16="http://schemas.microsoft.com/office/drawing/2014/main" id="{C99B43FC-7A0B-486C-995F-A1615F010F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" name="Untertitel 2">
            <a:extLst>
              <a:ext uri="{FF2B5EF4-FFF2-40B4-BE49-F238E27FC236}">
                <a16:creationId xmlns:a16="http://schemas.microsoft.com/office/drawing/2014/main" id="{3B2F4070-1FD5-4AA5-814E-B037EDDBD63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7248524" y="3428999"/>
            <a:ext cx="3455989" cy="1836738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latin typeface="+mj-lt"/>
              </a:defRPr>
            </a:lvl5pPr>
            <a:lvl6pPr marL="0" indent="0" algn="l">
              <a:buNone/>
              <a:defRPr sz="1600">
                <a:latin typeface="+mj-lt"/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1600">
                <a:latin typeface="+mj-lt"/>
              </a:defRPr>
            </a:lvl8pPr>
            <a:lvl9pPr marL="0" indent="0" algn="l">
              <a:buNone/>
              <a:defRPr sz="1600"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48524" y="1592263"/>
            <a:ext cx="3455989" cy="1836736"/>
          </a:xfrm>
        </p:spPr>
        <p:txBody>
          <a:bodyPr anchor="t"/>
          <a:lstStyle>
            <a:lvl1pPr>
              <a:defRPr sz="4000"/>
            </a:lvl1pPr>
            <a:lvl2pPr>
              <a:defRPr sz="4000"/>
            </a:lvl2pPr>
            <a:lvl3pPr>
              <a:defRPr sz="4000"/>
            </a:lvl3pPr>
            <a:lvl4pPr>
              <a:defRPr sz="4000"/>
            </a:lvl4pPr>
            <a:lvl5pPr>
              <a:defRPr sz="4000"/>
            </a:lvl5pPr>
            <a:lvl6pPr>
              <a:defRPr sz="4000"/>
            </a:lvl6pPr>
            <a:lvl7pPr>
              <a:defRPr sz="4000"/>
            </a:lvl7pPr>
            <a:lvl8pPr>
              <a:defRPr sz="4000"/>
            </a:lvl8pPr>
            <a:lvl9pPr>
              <a:defRPr sz="4000"/>
            </a:lvl9pPr>
          </a:lstStyle>
          <a:p>
            <a:pPr lvl="0"/>
            <a:r>
              <a:rPr lang="de-DE"/>
              <a:t>Kapitel- </a:t>
            </a:r>
            <a:r>
              <a:rPr lang="de-DE" err="1"/>
              <a:t>überschrift</a:t>
            </a:r>
            <a:endParaRPr lang="de-DE"/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9782B2D3-3015-47F5-901D-035A84A3802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6096000" cy="6223000"/>
          </a:xfrm>
          <a:custGeom>
            <a:avLst/>
            <a:gdLst>
              <a:gd name="connsiteX0" fmla="*/ 0 w 6096000"/>
              <a:gd name="connsiteY0" fmla="*/ 0 h 6223000"/>
              <a:gd name="connsiteX1" fmla="*/ 6096000 w 6096000"/>
              <a:gd name="connsiteY1" fmla="*/ 0 h 6223000"/>
              <a:gd name="connsiteX2" fmla="*/ 6096000 w 6096000"/>
              <a:gd name="connsiteY2" fmla="*/ 5356758 h 6223000"/>
              <a:gd name="connsiteX3" fmla="*/ 5229758 w 6096000"/>
              <a:gd name="connsiteY3" fmla="*/ 6223000 h 6223000"/>
              <a:gd name="connsiteX4" fmla="*/ 0 w 6096000"/>
              <a:gd name="connsiteY4" fmla="*/ 6223000 h 622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223000">
                <a:moveTo>
                  <a:pt x="0" y="0"/>
                </a:moveTo>
                <a:lnTo>
                  <a:pt x="6096000" y="0"/>
                </a:lnTo>
                <a:lnTo>
                  <a:pt x="6096000" y="5356758"/>
                </a:lnTo>
                <a:cubicBezTo>
                  <a:pt x="6096000" y="5835170"/>
                  <a:pt x="5708170" y="6223000"/>
                  <a:pt x="5229758" y="6223000"/>
                </a:cubicBezTo>
                <a:lnTo>
                  <a:pt x="0" y="6223000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470B864-D8FD-472B-9A86-77DCF86B9E6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/>
            <a:fld id="{DF199592-E1AB-42A0-B8B5-86D7289A08D4}" type="datetime1">
              <a:rPr lang="de-DE" smtClean="0"/>
              <a:t>2022-01-1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C28D540-C8DE-4034-A254-7BB58C165E0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F89D174-75D8-4071-AA9C-8B2BD14EC03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74165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5A0E8ACE-F208-4580-9945-A7005B3E229F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34DB811-0D8A-421A-9CDD-47BCA68CAF03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911225" y="6310313"/>
            <a:ext cx="1114412" cy="216000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smtClean="0"/>
            </a:lvl1pPr>
          </a:lstStyle>
          <a:p>
            <a:pPr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fld id="{09C5BCB8-57F3-40D7-95C9-0202148F3ACD}" type="datetime1">
              <a:rPr lang="de-DE" smtClean="0"/>
              <a:t>2022-01-13</a:t>
            </a:fld>
            <a:endParaRPr lang="de-DE"/>
          </a:p>
        </p:txBody>
      </p:sp>
      <p:sp>
        <p:nvSpPr>
          <p:cNvPr id="26" name="Bildplatzhalter 25">
            <a:extLst>
              <a:ext uri="{FF2B5EF4-FFF2-40B4-BE49-F238E27FC236}">
                <a16:creationId xmlns:a16="http://schemas.microsoft.com/office/drawing/2014/main" id="{A00D384B-B3AA-4CCF-85B7-8EDB1E746B6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7248524 w 12192000"/>
              <a:gd name="connsiteY3" fmla="*/ 6858000 h 6858000"/>
              <a:gd name="connsiteX4" fmla="*/ 7248524 w 12192000"/>
              <a:gd name="connsiteY4" fmla="*/ 4602507 h 6858000"/>
              <a:gd name="connsiteX5" fmla="*/ 6075018 w 12192000"/>
              <a:gd name="connsiteY5" fmla="*/ 3429000 h 6858000"/>
              <a:gd name="connsiteX6" fmla="*/ 317438 w 12192000"/>
              <a:gd name="connsiteY6" fmla="*/ 3429000 h 6858000"/>
              <a:gd name="connsiteX7" fmla="*/ 6677 w 12192000"/>
              <a:gd name="connsiteY7" fmla="*/ 3429000 h 6858000"/>
              <a:gd name="connsiteX8" fmla="*/ 0 w 12192000"/>
              <a:gd name="connsiteY8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7248524" y="6858000"/>
                </a:lnTo>
                <a:lnTo>
                  <a:pt x="7248524" y="4602507"/>
                </a:lnTo>
                <a:cubicBezTo>
                  <a:pt x="7248524" y="3954397"/>
                  <a:pt x="6723127" y="3429000"/>
                  <a:pt x="6075018" y="3429000"/>
                </a:cubicBezTo>
                <a:lnTo>
                  <a:pt x="317438" y="3429000"/>
                </a:lnTo>
                <a:lnTo>
                  <a:pt x="6677" y="3429000"/>
                </a:lnTo>
                <a:lnTo>
                  <a:pt x="0" y="342900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225" y="4318000"/>
            <a:ext cx="5184775" cy="1673225"/>
          </a:xfrm>
        </p:spPr>
        <p:txBody>
          <a:bodyPr anchor="t"/>
          <a:lstStyle>
            <a:lvl1pPr>
              <a:lnSpc>
                <a:spcPct val="80000"/>
              </a:lnSpc>
              <a:defRPr sz="5400"/>
            </a:lvl1pPr>
            <a:lvl2pPr>
              <a:lnSpc>
                <a:spcPct val="80000"/>
              </a:lnSpc>
              <a:defRPr sz="5400"/>
            </a:lvl2pPr>
            <a:lvl3pPr>
              <a:lnSpc>
                <a:spcPct val="80000"/>
              </a:lnSpc>
              <a:defRPr sz="5400"/>
            </a:lvl3pPr>
            <a:lvl4pPr>
              <a:lnSpc>
                <a:spcPct val="80000"/>
              </a:lnSpc>
              <a:defRPr sz="5400"/>
            </a:lvl4pPr>
            <a:lvl5pPr>
              <a:lnSpc>
                <a:spcPct val="80000"/>
              </a:lnSpc>
              <a:defRPr sz="5400"/>
            </a:lvl5pPr>
            <a:lvl6pPr>
              <a:lnSpc>
                <a:spcPct val="80000"/>
              </a:lnSpc>
              <a:defRPr sz="5400"/>
            </a:lvl6pPr>
            <a:lvl7pPr>
              <a:lnSpc>
                <a:spcPct val="80000"/>
              </a:lnSpc>
              <a:defRPr sz="5400"/>
            </a:lvl7pPr>
            <a:lvl8pPr>
              <a:lnSpc>
                <a:spcPct val="80000"/>
              </a:lnSpc>
              <a:defRPr sz="5400"/>
            </a:lvl8pPr>
            <a:lvl9pPr>
              <a:lnSpc>
                <a:spcPct val="80000"/>
              </a:lnSpc>
              <a:defRPr sz="5400"/>
            </a:lvl9pPr>
          </a:lstStyle>
          <a:p>
            <a:pPr lvl="0"/>
            <a:r>
              <a:rPr lang="de-DE"/>
              <a:t>Präsentations-</a:t>
            </a:r>
            <a:br>
              <a:rPr lang="de-DE"/>
            </a:br>
            <a:r>
              <a:rPr lang="de-DE" err="1"/>
              <a:t>titel</a:t>
            </a:r>
            <a:endParaRPr lang="de-DE"/>
          </a:p>
        </p:txBody>
      </p:sp>
      <p:sp>
        <p:nvSpPr>
          <p:cNvPr id="30" name="Textplatzhalter 9">
            <a:extLst>
              <a:ext uri="{FF2B5EF4-FFF2-40B4-BE49-F238E27FC236}">
                <a16:creationId xmlns:a16="http://schemas.microsoft.com/office/drawing/2014/main" id="{A3575644-C415-4736-A0BA-E98385D01B2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79048" y="6310313"/>
            <a:ext cx="3816952" cy="216000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Sprecher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3481B9A9-736B-4492-98F4-CFFBBB93D83D}"/>
              </a:ext>
            </a:extLst>
          </p:cNvPr>
          <p:cNvCxnSpPr/>
          <p:nvPr userDrawn="1"/>
        </p:nvCxnSpPr>
        <p:spPr>
          <a:xfrm>
            <a:off x="2083772" y="6310313"/>
            <a:ext cx="0" cy="17938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437FBB7-9757-4A42-823D-017F0EC58B9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8401051" y="7075933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7483039-7586-475E-BC6A-3A8359872F8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725538" y="7075933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C3620A67-701F-4A72-8B7E-CD8F1219791E}"/>
              </a:ext>
            </a:extLst>
          </p:cNvPr>
          <p:cNvGrpSpPr/>
          <p:nvPr userDrawn="1"/>
        </p:nvGrpSpPr>
        <p:grpSpPr>
          <a:xfrm>
            <a:off x="911225" y="3830191"/>
            <a:ext cx="1011508" cy="269876"/>
            <a:chOff x="464743" y="1368699"/>
            <a:chExt cx="2380058" cy="635012"/>
          </a:xfrm>
        </p:grpSpPr>
        <p:sp>
          <p:nvSpPr>
            <p:cNvPr id="28" name="Oval 5">
              <a:extLst>
                <a:ext uri="{FF2B5EF4-FFF2-40B4-BE49-F238E27FC236}">
                  <a16:creationId xmlns:a16="http://schemas.microsoft.com/office/drawing/2014/main" id="{9DB51519-212F-4F9C-A8F0-CD205DEB5C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4FA49F84-6C42-4DB9-BBD7-03D2B51051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65D3213F-ECAE-4FF2-8704-4FEEDBE339F0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33" name="Freeform 7">
                <a:extLst>
                  <a:ext uri="{FF2B5EF4-FFF2-40B4-BE49-F238E27FC236}">
                    <a16:creationId xmlns:a16="http://schemas.microsoft.com/office/drawing/2014/main" id="{622E2667-2878-43D2-9F15-F7CEE1025C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8">
                <a:extLst>
                  <a:ext uri="{FF2B5EF4-FFF2-40B4-BE49-F238E27FC236}">
                    <a16:creationId xmlns:a16="http://schemas.microsoft.com/office/drawing/2014/main" id="{707F320C-16FC-4FE5-91EC-B7E2D0D677B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9">
                <a:extLst>
                  <a:ext uri="{FF2B5EF4-FFF2-40B4-BE49-F238E27FC236}">
                    <a16:creationId xmlns:a16="http://schemas.microsoft.com/office/drawing/2014/main" id="{C41667E5-D027-4E3F-AE8D-D0DA61F914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0">
                <a:extLst>
                  <a:ext uri="{FF2B5EF4-FFF2-40B4-BE49-F238E27FC236}">
                    <a16:creationId xmlns:a16="http://schemas.microsoft.com/office/drawing/2014/main" id="{8429D5A7-5EB1-4F0A-8001-9D6589ED82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1">
                <a:extLst>
                  <a:ext uri="{FF2B5EF4-FFF2-40B4-BE49-F238E27FC236}">
                    <a16:creationId xmlns:a16="http://schemas.microsoft.com/office/drawing/2014/main" id="{8B38EFD7-69C6-438A-B275-69A9A6E90C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2">
                <a:extLst>
                  <a:ext uri="{FF2B5EF4-FFF2-40B4-BE49-F238E27FC236}">
                    <a16:creationId xmlns:a16="http://schemas.microsoft.com/office/drawing/2014/main" id="{3A792FA5-9746-4A13-AB69-129DED9096C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3">
                <a:extLst>
                  <a:ext uri="{FF2B5EF4-FFF2-40B4-BE49-F238E27FC236}">
                    <a16:creationId xmlns:a16="http://schemas.microsoft.com/office/drawing/2014/main" id="{94C5166C-CEB1-4E4C-8031-569B5A5ADC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4">
                <a:extLst>
                  <a:ext uri="{FF2B5EF4-FFF2-40B4-BE49-F238E27FC236}">
                    <a16:creationId xmlns:a16="http://schemas.microsoft.com/office/drawing/2014/main" id="{FAD93053-B1D2-43A0-AD0A-45BA4123B07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5">
                <a:extLst>
                  <a:ext uri="{FF2B5EF4-FFF2-40B4-BE49-F238E27FC236}">
                    <a16:creationId xmlns:a16="http://schemas.microsoft.com/office/drawing/2014/main" id="{B793DECC-AF70-4555-87F4-4C604089E5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6">
                <a:extLst>
                  <a:ext uri="{FF2B5EF4-FFF2-40B4-BE49-F238E27FC236}">
                    <a16:creationId xmlns:a16="http://schemas.microsoft.com/office/drawing/2014/main" id="{8A47073C-4124-4E90-83B0-4220A985EB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66084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reihandform: Form 36">
            <a:extLst>
              <a:ext uri="{FF2B5EF4-FFF2-40B4-BE49-F238E27FC236}">
                <a16:creationId xmlns:a16="http://schemas.microsoft.com/office/drawing/2014/main" id="{5A4CE6BF-C665-428A-8A94-D74142A2F4B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5555456 h 6858000"/>
              <a:gd name="connsiteX3" fmla="*/ 12034223 w 12192000"/>
              <a:gd name="connsiteY3" fmla="*/ 5555456 h 6858000"/>
              <a:gd name="connsiteX4" fmla="*/ 12034202 w 12192000"/>
              <a:gd name="connsiteY4" fmla="*/ 5555455 h 6858000"/>
              <a:gd name="connsiteX5" fmla="*/ 2241392 w 12192000"/>
              <a:gd name="connsiteY5" fmla="*/ 5555455 h 6858000"/>
              <a:gd name="connsiteX6" fmla="*/ 1321594 w 12192000"/>
              <a:gd name="connsiteY6" fmla="*/ 6475253 h 6858000"/>
              <a:gd name="connsiteX7" fmla="*/ 1321594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5555456"/>
                </a:lnTo>
                <a:lnTo>
                  <a:pt x="12034223" y="5555456"/>
                </a:lnTo>
                <a:lnTo>
                  <a:pt x="12034202" y="5555455"/>
                </a:lnTo>
                <a:lnTo>
                  <a:pt x="2241392" y="5555455"/>
                </a:lnTo>
                <a:cubicBezTo>
                  <a:pt x="1733402" y="5555455"/>
                  <a:pt x="1321594" y="5967263"/>
                  <a:pt x="1321594" y="6475253"/>
                </a:cubicBezTo>
                <a:lnTo>
                  <a:pt x="132159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944563"/>
            <a:ext cx="3095625" cy="647698"/>
          </a:xfrm>
        </p:spPr>
        <p:txBody>
          <a:bodyPr anchor="t"/>
          <a:lstStyle>
            <a:lvl1pPr>
              <a:defRPr sz="5400"/>
            </a:lvl1pPr>
            <a:lvl2pPr>
              <a:defRPr sz="5400"/>
            </a:lvl2pPr>
            <a:lvl3pPr>
              <a:defRPr sz="5400"/>
            </a:lvl3pPr>
            <a:lvl4pPr>
              <a:defRPr sz="5400"/>
            </a:lvl4pPr>
            <a:lvl5pPr>
              <a:defRPr sz="5400"/>
            </a:lvl5pPr>
            <a:lvl6pPr>
              <a:defRPr sz="5400"/>
            </a:lvl6pPr>
            <a:lvl7pPr>
              <a:defRPr sz="5400"/>
            </a:lvl7pPr>
            <a:lvl8pPr>
              <a:defRPr sz="5400"/>
            </a:lvl8pPr>
            <a:lvl9pPr>
              <a:defRPr sz="5400"/>
            </a:lvl9pPr>
          </a:lstStyle>
          <a:p>
            <a:pPr lvl="0"/>
            <a:r>
              <a:rPr lang="de-DE"/>
              <a:t>Agenda</a:t>
            </a: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5633BB16-81E2-41BA-8DB1-CB4727975DC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83113" y="1592261"/>
            <a:ext cx="3817937" cy="3673475"/>
          </a:xfrm>
        </p:spPr>
        <p:txBody>
          <a:bodyPr/>
          <a:lstStyle>
            <a:lvl1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Ers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Zwei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Drit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Vier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Fünfte Ebene für Aufzählungen</a:t>
            </a:r>
          </a:p>
          <a:p>
            <a:pPr lvl="0"/>
            <a:r>
              <a:rPr lang="de-DE"/>
              <a:t>Sechste Ebene für Highlights</a:t>
            </a:r>
          </a:p>
        </p:txBody>
      </p:sp>
      <p:sp>
        <p:nvSpPr>
          <p:cNvPr id="19" name="Freihandform: Form 18">
            <a:extLst>
              <a:ext uri="{FF2B5EF4-FFF2-40B4-BE49-F238E27FC236}">
                <a16:creationId xmlns:a16="http://schemas.microsoft.com/office/drawing/2014/main" id="{11506FDE-2E24-408A-9A98-EF162BACC1A3}"/>
              </a:ext>
            </a:extLst>
          </p:cNvPr>
          <p:cNvSpPr/>
          <p:nvPr userDrawn="1"/>
        </p:nvSpPr>
        <p:spPr>
          <a:xfrm flipH="1">
            <a:off x="1498068" y="5376330"/>
            <a:ext cx="10704512" cy="1492250"/>
          </a:xfrm>
          <a:custGeom>
            <a:avLst/>
            <a:gdLst>
              <a:gd name="connsiteX0" fmla="*/ 9783757 w 10704512"/>
              <a:gd name="connsiteY0" fmla="*/ 0 h 1492250"/>
              <a:gd name="connsiteX1" fmla="*/ 0 w 10704512"/>
              <a:gd name="connsiteY1" fmla="*/ 0 h 1492250"/>
              <a:gd name="connsiteX2" fmla="*/ 0 w 10704512"/>
              <a:gd name="connsiteY2" fmla="*/ 1492250 h 1492250"/>
              <a:gd name="connsiteX3" fmla="*/ 10704512 w 10704512"/>
              <a:gd name="connsiteY3" fmla="*/ 1492250 h 1492250"/>
              <a:gd name="connsiteX4" fmla="*/ 10704512 w 10704512"/>
              <a:gd name="connsiteY4" fmla="*/ 920755 h 1492250"/>
              <a:gd name="connsiteX5" fmla="*/ 9783757 w 10704512"/>
              <a:gd name="connsiteY5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704512" h="1492250">
                <a:moveTo>
                  <a:pt x="9783757" y="0"/>
                </a:moveTo>
                <a:lnTo>
                  <a:pt x="0" y="0"/>
                </a:lnTo>
                <a:lnTo>
                  <a:pt x="0" y="1492250"/>
                </a:lnTo>
                <a:lnTo>
                  <a:pt x="10704512" y="1492250"/>
                </a:lnTo>
                <a:lnTo>
                  <a:pt x="10704512" y="920755"/>
                </a:lnTo>
                <a:cubicBezTo>
                  <a:pt x="10704512" y="412236"/>
                  <a:pt x="10292276" y="0"/>
                  <a:pt x="9783757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254916B7-58EF-4F08-A783-46F18118B6C0}"/>
              </a:ext>
            </a:extLst>
          </p:cNvPr>
          <p:cNvGrpSpPr/>
          <p:nvPr userDrawn="1"/>
        </p:nvGrpSpPr>
        <p:grpSpPr>
          <a:xfrm>
            <a:off x="10990764" y="364362"/>
            <a:ext cx="867864" cy="231551"/>
            <a:chOff x="464743" y="1368699"/>
            <a:chExt cx="2380058" cy="635012"/>
          </a:xfrm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9DF83FF6-AFE6-4555-90DE-0D3C163DA0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7AE21AAB-E07B-47DA-AFD0-DEAA3D275A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A56AB8B5-4588-48C1-9C07-75640E26512E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A71BD18E-6C07-411A-9495-8446904F72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8">
                <a:extLst>
                  <a:ext uri="{FF2B5EF4-FFF2-40B4-BE49-F238E27FC236}">
                    <a16:creationId xmlns:a16="http://schemas.microsoft.com/office/drawing/2014/main" id="{26CCEDD4-2516-4002-A7DC-A59BA62F373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9">
                <a:extLst>
                  <a:ext uri="{FF2B5EF4-FFF2-40B4-BE49-F238E27FC236}">
                    <a16:creationId xmlns:a16="http://schemas.microsoft.com/office/drawing/2014/main" id="{DF3B131D-3C13-42E0-9206-E171CCF5B5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0">
                <a:extLst>
                  <a:ext uri="{FF2B5EF4-FFF2-40B4-BE49-F238E27FC236}">
                    <a16:creationId xmlns:a16="http://schemas.microsoft.com/office/drawing/2014/main" id="{CC1A6517-C355-46B0-AAC1-F23094D15D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1">
                <a:extLst>
                  <a:ext uri="{FF2B5EF4-FFF2-40B4-BE49-F238E27FC236}">
                    <a16:creationId xmlns:a16="http://schemas.microsoft.com/office/drawing/2014/main" id="{2D282B2E-2815-47F9-A08C-655F14185C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2">
                <a:extLst>
                  <a:ext uri="{FF2B5EF4-FFF2-40B4-BE49-F238E27FC236}">
                    <a16:creationId xmlns:a16="http://schemas.microsoft.com/office/drawing/2014/main" id="{8966AAB2-499D-4B16-B74F-A313AB8B943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3">
                <a:extLst>
                  <a:ext uri="{FF2B5EF4-FFF2-40B4-BE49-F238E27FC236}">
                    <a16:creationId xmlns:a16="http://schemas.microsoft.com/office/drawing/2014/main" id="{72DAECD8-27D3-4109-A6A0-3CDDC159E5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4">
                <a:extLst>
                  <a:ext uri="{FF2B5EF4-FFF2-40B4-BE49-F238E27FC236}">
                    <a16:creationId xmlns:a16="http://schemas.microsoft.com/office/drawing/2014/main" id="{34080E8D-32B8-4A2B-9398-55858DAB3A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15">
                <a:extLst>
                  <a:ext uri="{FF2B5EF4-FFF2-40B4-BE49-F238E27FC236}">
                    <a16:creationId xmlns:a16="http://schemas.microsoft.com/office/drawing/2014/main" id="{F492BF34-88EE-4DF9-A3FA-1D74A54071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6">
                <a:extLst>
                  <a:ext uri="{FF2B5EF4-FFF2-40B4-BE49-F238E27FC236}">
                    <a16:creationId xmlns:a16="http://schemas.microsoft.com/office/drawing/2014/main" id="{29342A22-C6BD-4A9B-BA64-C9BB74D818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E39C62E-E45B-4DB0-8BDC-ADF35A7DD17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2663E6F1-5175-4D0A-9EFD-B2E0099B6AC2}" type="datetime1">
              <a:rPr lang="de-DE" smtClean="0"/>
              <a:t>2022-01-1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2BDBB57-71E2-4418-B351-9C4643F67D8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8D621D8-7D75-456C-87F6-66D9307AC69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72790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folie 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C9247478-3193-499B-A283-D437B7BC3F3A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C3441832-CABC-4B2B-9A8F-52E8F7E5BB22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-1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4287 w 12192000"/>
              <a:gd name="connsiteY1" fmla="*/ 0 h 6858000"/>
              <a:gd name="connsiteX2" fmla="*/ 731500 w 12192000"/>
              <a:gd name="connsiteY2" fmla="*/ 0 h 6858000"/>
              <a:gd name="connsiteX3" fmla="*/ 12192000 w 12192000"/>
              <a:gd name="connsiteY3" fmla="*/ 0 h 6858000"/>
              <a:gd name="connsiteX4" fmla="*/ 12192000 w 12192000"/>
              <a:gd name="connsiteY4" fmla="*/ 6858000 h 6858000"/>
              <a:gd name="connsiteX5" fmla="*/ 6096000 w 12192000"/>
              <a:gd name="connsiteY5" fmla="*/ 6858000 h 6858000"/>
              <a:gd name="connsiteX6" fmla="*/ 6096000 w 12192000"/>
              <a:gd name="connsiteY6" fmla="*/ 1629422 h 6858000"/>
              <a:gd name="connsiteX7" fmla="*/ 5088684 w 12192000"/>
              <a:gd name="connsiteY7" fmla="*/ 622106 h 6858000"/>
              <a:gd name="connsiteX8" fmla="*/ 731500 w 12192000"/>
              <a:gd name="connsiteY8" fmla="*/ 622106 h 6858000"/>
              <a:gd name="connsiteX9" fmla="*/ 14287 w 12192000"/>
              <a:gd name="connsiteY9" fmla="*/ 622106 h 6858000"/>
              <a:gd name="connsiteX10" fmla="*/ 0 w 12192000"/>
              <a:gd name="connsiteY10" fmla="*/ 62210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4287" y="0"/>
                </a:lnTo>
                <a:lnTo>
                  <a:pt x="731500" y="0"/>
                </a:lnTo>
                <a:lnTo>
                  <a:pt x="12192000" y="0"/>
                </a:lnTo>
                <a:lnTo>
                  <a:pt x="12192000" y="6858000"/>
                </a:lnTo>
                <a:lnTo>
                  <a:pt x="6096000" y="6858000"/>
                </a:lnTo>
                <a:lnTo>
                  <a:pt x="6096000" y="1629422"/>
                </a:lnTo>
                <a:cubicBezTo>
                  <a:pt x="6096000" y="1073097"/>
                  <a:pt x="5645009" y="622106"/>
                  <a:pt x="5088684" y="622106"/>
                </a:cubicBezTo>
                <a:lnTo>
                  <a:pt x="731500" y="622106"/>
                </a:lnTo>
                <a:lnTo>
                  <a:pt x="14287" y="622106"/>
                </a:lnTo>
                <a:lnTo>
                  <a:pt x="0" y="622106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lIns="1800000" tIns="0" bIns="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1592263"/>
            <a:ext cx="3455987" cy="1223962"/>
          </a:xfrm>
        </p:spPr>
        <p:txBody>
          <a:bodyPr anchor="t"/>
          <a:lstStyle>
            <a:lvl1pPr>
              <a:defRPr sz="5400"/>
            </a:lvl1pPr>
            <a:lvl2pPr>
              <a:defRPr sz="5400"/>
            </a:lvl2pPr>
            <a:lvl3pPr>
              <a:defRPr sz="5400"/>
            </a:lvl3pPr>
            <a:lvl4pPr>
              <a:defRPr sz="5400"/>
            </a:lvl4pPr>
            <a:lvl5pPr>
              <a:defRPr sz="5400"/>
            </a:lvl5pPr>
            <a:lvl6pPr>
              <a:defRPr sz="5400"/>
            </a:lvl6pPr>
            <a:lvl7pPr>
              <a:defRPr sz="5400"/>
            </a:lvl7pPr>
            <a:lvl8pPr>
              <a:defRPr sz="5400"/>
            </a:lvl8pPr>
            <a:lvl9pPr>
              <a:defRPr sz="5400"/>
            </a:lvl9pPr>
          </a:lstStyle>
          <a:p>
            <a:pPr lvl="0"/>
            <a:r>
              <a:rPr lang="de-DE"/>
              <a:t>Agenda</a:t>
            </a:r>
          </a:p>
        </p:txBody>
      </p:sp>
      <p:sp>
        <p:nvSpPr>
          <p:cNvPr id="8" name="Textplatzhalter 9">
            <a:extLst>
              <a:ext uri="{FF2B5EF4-FFF2-40B4-BE49-F238E27FC236}">
                <a16:creationId xmlns:a16="http://schemas.microsoft.com/office/drawing/2014/main" id="{85F76B8B-1FC5-4521-AD1F-6A3F92AE390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487488" y="2816225"/>
            <a:ext cx="3455987" cy="3673475"/>
          </a:xfrm>
        </p:spPr>
        <p:txBody>
          <a:bodyPr/>
          <a:lstStyle>
            <a:lvl1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Ers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Zwei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Drit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Vier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Fünfte Ebene für Aufzählungen</a:t>
            </a:r>
          </a:p>
          <a:p>
            <a:pPr lvl="0"/>
            <a:r>
              <a:rPr lang="de-DE"/>
              <a:t>Sechste Ebene für Highlights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C54598E-FC50-496C-9931-8DA549B04D5D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1160919" y="7101333"/>
            <a:ext cx="457993" cy="101671"/>
          </a:xfrm>
        </p:spPr>
        <p:txBody>
          <a:bodyPr/>
          <a:lstStyle/>
          <a:p>
            <a:pPr algn="r"/>
            <a:fld id="{77A1FCF2-945A-469F-B3D0-4DD9AF19FEB9}" type="datetime1">
              <a:rPr lang="de-DE" smtClean="0"/>
              <a:t>2022-01-1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F3E8894-DCFC-4586-95EE-4E7F5B69739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8401051" y="7101333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A36E9F1-F3BA-4241-A2AA-E1B75550C16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725538" y="7101333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4" name="Textplatzhalter 117">
            <a:extLst>
              <a:ext uri="{FF2B5EF4-FFF2-40B4-BE49-F238E27FC236}">
                <a16:creationId xmlns:a16="http://schemas.microsoft.com/office/drawing/2014/main" id="{27728EDC-9F95-41EC-A4B7-522A95BE7C0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30560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ihandform: Form 13">
            <a:extLst>
              <a:ext uri="{FF2B5EF4-FFF2-40B4-BE49-F238E27FC236}">
                <a16:creationId xmlns:a16="http://schemas.microsoft.com/office/drawing/2014/main" id="{072AF896-135A-4A96-A537-178BCF5D84F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0704513 w 12192000"/>
              <a:gd name="connsiteY3" fmla="*/ 6858000 h 6858000"/>
              <a:gd name="connsiteX4" fmla="*/ 10704513 w 12192000"/>
              <a:gd name="connsiteY4" fmla="*/ 2789980 h 6858000"/>
              <a:gd name="connsiteX5" fmla="*/ 9735713 w 12192000"/>
              <a:gd name="connsiteY5" fmla="*/ 1821180 h 6858000"/>
              <a:gd name="connsiteX6" fmla="*/ 0 w 12192000"/>
              <a:gd name="connsiteY6" fmla="*/ 182118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0704513" y="6858000"/>
                </a:lnTo>
                <a:lnTo>
                  <a:pt x="10704513" y="2789980"/>
                </a:lnTo>
                <a:cubicBezTo>
                  <a:pt x="10704513" y="2254927"/>
                  <a:pt x="10270766" y="1821180"/>
                  <a:pt x="9735713" y="1821180"/>
                </a:cubicBezTo>
                <a:lnTo>
                  <a:pt x="0" y="182118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FB9B356D-077B-4EA8-8CD9-172297E20735}"/>
              </a:ext>
            </a:extLst>
          </p:cNvPr>
          <p:cNvSpPr/>
          <p:nvPr userDrawn="1"/>
        </p:nvSpPr>
        <p:spPr>
          <a:xfrm>
            <a:off x="-10580" y="1603901"/>
            <a:ext cx="10892824" cy="5265737"/>
          </a:xfrm>
          <a:custGeom>
            <a:avLst/>
            <a:gdLst>
              <a:gd name="connsiteX0" fmla="*/ 0 w 10892824"/>
              <a:gd name="connsiteY0" fmla="*/ 0 h 5265737"/>
              <a:gd name="connsiteX1" fmla="*/ 9854153 w 10892824"/>
              <a:gd name="connsiteY1" fmla="*/ 0 h 5265737"/>
              <a:gd name="connsiteX2" fmla="*/ 10892824 w 10892824"/>
              <a:gd name="connsiteY2" fmla="*/ 1038671 h 5265737"/>
              <a:gd name="connsiteX3" fmla="*/ 10892824 w 10892824"/>
              <a:gd name="connsiteY3" fmla="*/ 5265737 h 5265737"/>
              <a:gd name="connsiteX4" fmla="*/ 0 w 10892824"/>
              <a:gd name="connsiteY4" fmla="*/ 5265737 h 5265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892824" h="5265737">
                <a:moveTo>
                  <a:pt x="0" y="0"/>
                </a:moveTo>
                <a:lnTo>
                  <a:pt x="9854153" y="0"/>
                </a:lnTo>
                <a:cubicBezTo>
                  <a:pt x="10427795" y="0"/>
                  <a:pt x="10892824" y="465029"/>
                  <a:pt x="10892824" y="1038671"/>
                </a:cubicBezTo>
                <a:lnTo>
                  <a:pt x="10892824" y="5265737"/>
                </a:lnTo>
                <a:lnTo>
                  <a:pt x="0" y="5265737"/>
                </a:ln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CF693C21-4507-4F3E-81F3-C5129BC124FB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0" name="Oval 5">
              <a:extLst>
                <a:ext uri="{FF2B5EF4-FFF2-40B4-BE49-F238E27FC236}">
                  <a16:creationId xmlns:a16="http://schemas.microsoft.com/office/drawing/2014/main" id="{9C338AFF-E703-4949-85EC-CB4644EB8B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id="{252C4243-738B-4049-BDED-CD4B6AA6E6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2" name="Gruppieren 21">
              <a:extLst>
                <a:ext uri="{FF2B5EF4-FFF2-40B4-BE49-F238E27FC236}">
                  <a16:creationId xmlns:a16="http://schemas.microsoft.com/office/drawing/2014/main" id="{5CF87B07-4289-49FF-9D93-5E50076EA829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23" name="Freeform 7">
                <a:extLst>
                  <a:ext uri="{FF2B5EF4-FFF2-40B4-BE49-F238E27FC236}">
                    <a16:creationId xmlns:a16="http://schemas.microsoft.com/office/drawing/2014/main" id="{0B6C66D2-26E8-4D8C-B008-A5821EDA65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8">
                <a:extLst>
                  <a:ext uri="{FF2B5EF4-FFF2-40B4-BE49-F238E27FC236}">
                    <a16:creationId xmlns:a16="http://schemas.microsoft.com/office/drawing/2014/main" id="{2E3DC62B-3FCB-4F68-BE4D-EE46C674CF4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9">
                <a:extLst>
                  <a:ext uri="{FF2B5EF4-FFF2-40B4-BE49-F238E27FC236}">
                    <a16:creationId xmlns:a16="http://schemas.microsoft.com/office/drawing/2014/main" id="{051A77AC-8B30-43FC-8D49-FE6CFBBF28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0">
                <a:extLst>
                  <a:ext uri="{FF2B5EF4-FFF2-40B4-BE49-F238E27FC236}">
                    <a16:creationId xmlns:a16="http://schemas.microsoft.com/office/drawing/2014/main" id="{36558BEF-9E49-44A2-91FA-86FF532E46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1">
                <a:extLst>
                  <a:ext uri="{FF2B5EF4-FFF2-40B4-BE49-F238E27FC236}">
                    <a16:creationId xmlns:a16="http://schemas.microsoft.com/office/drawing/2014/main" id="{8E243C08-9029-4757-B58F-2B10ED5ED7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2">
                <a:extLst>
                  <a:ext uri="{FF2B5EF4-FFF2-40B4-BE49-F238E27FC236}">
                    <a16:creationId xmlns:a16="http://schemas.microsoft.com/office/drawing/2014/main" id="{551DA8B8-ABFE-424A-915B-1F8F10DC4C8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3">
                <a:extLst>
                  <a:ext uri="{FF2B5EF4-FFF2-40B4-BE49-F238E27FC236}">
                    <a16:creationId xmlns:a16="http://schemas.microsoft.com/office/drawing/2014/main" id="{BE56415D-81F1-4E23-80F6-F742A96E6B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4">
                <a:extLst>
                  <a:ext uri="{FF2B5EF4-FFF2-40B4-BE49-F238E27FC236}">
                    <a16:creationId xmlns:a16="http://schemas.microsoft.com/office/drawing/2014/main" id="{0F7D23C0-88E4-43F4-AF63-A90A4D971A9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5">
                <a:extLst>
                  <a:ext uri="{FF2B5EF4-FFF2-40B4-BE49-F238E27FC236}">
                    <a16:creationId xmlns:a16="http://schemas.microsoft.com/office/drawing/2014/main" id="{8104E26D-3B4A-471C-811A-D9D06E67E7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16">
                <a:extLst>
                  <a:ext uri="{FF2B5EF4-FFF2-40B4-BE49-F238E27FC236}">
                    <a16:creationId xmlns:a16="http://schemas.microsoft.com/office/drawing/2014/main" id="{CB8C91E4-CA6C-4E38-B0E9-648EC3A011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EDF9A70-399E-4529-A7DB-A038CFBA646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160919" y="7025133"/>
            <a:ext cx="457993" cy="101671"/>
          </a:xfrm>
        </p:spPr>
        <p:txBody>
          <a:bodyPr/>
          <a:lstStyle/>
          <a:p>
            <a:pPr algn="r"/>
            <a:fld id="{CC766BD3-F42C-4B91-ADB7-39C1B0F94450}" type="datetime1">
              <a:rPr lang="de-DE" smtClean="0"/>
              <a:t>2022-01-1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34C1970-862A-40A2-A410-8A18C19CA5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401051" y="7025133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F3A8B34-701D-49AF-8DAE-5BB05BEE9C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25538" y="7025133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8B0742D8-C6F9-4208-9FBD-2C97B14287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7" y="3429000"/>
            <a:ext cx="6121401" cy="1836738"/>
          </a:xfrm>
        </p:spPr>
        <p:txBody>
          <a:bodyPr anchor="b"/>
          <a:lstStyle>
            <a:lvl1pPr>
              <a:defRPr sz="4000">
                <a:solidFill>
                  <a:schemeClr val="tx1"/>
                </a:solidFill>
              </a:defRPr>
            </a:lvl1pPr>
            <a:lvl2pPr>
              <a:defRPr sz="4000">
                <a:solidFill>
                  <a:schemeClr val="bg1"/>
                </a:solidFill>
              </a:defRPr>
            </a:lvl2pPr>
            <a:lvl3pPr>
              <a:defRPr sz="4000">
                <a:solidFill>
                  <a:schemeClr val="bg1"/>
                </a:solidFill>
              </a:defRPr>
            </a:lvl3pPr>
            <a:lvl4pPr>
              <a:defRPr sz="4000">
                <a:solidFill>
                  <a:schemeClr val="bg1"/>
                </a:solidFill>
              </a:defRPr>
            </a:lvl4pPr>
            <a:lvl5pPr>
              <a:defRPr sz="4000">
                <a:solidFill>
                  <a:schemeClr val="bg1"/>
                </a:solidFill>
              </a:defRPr>
            </a:lvl5pPr>
            <a:lvl6pPr>
              <a:defRPr sz="4000">
                <a:solidFill>
                  <a:schemeClr val="bg1"/>
                </a:solidFill>
              </a:defRPr>
            </a:lvl6pPr>
            <a:lvl7pPr>
              <a:defRPr sz="4000">
                <a:solidFill>
                  <a:schemeClr val="bg1"/>
                </a:solidFill>
              </a:defRPr>
            </a:lvl7pPr>
            <a:lvl8pPr>
              <a:defRPr sz="4000">
                <a:solidFill>
                  <a:schemeClr val="bg1"/>
                </a:solidFill>
              </a:defRPr>
            </a:lvl8pPr>
            <a:lvl9pPr>
              <a:defRPr sz="40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itel für das nächste Kapitel bitte hier einfügen</a:t>
            </a:r>
          </a:p>
        </p:txBody>
      </p:sp>
      <p:sp>
        <p:nvSpPr>
          <p:cNvPr id="28" name="Untertitel 2">
            <a:extLst>
              <a:ext uri="{FF2B5EF4-FFF2-40B4-BE49-F238E27FC236}">
                <a16:creationId xmlns:a16="http://schemas.microsoft.com/office/drawing/2014/main" id="{3D94055D-D184-4607-84E0-82BDD3BEB334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1487487" y="5265738"/>
            <a:ext cx="6121401" cy="1225995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solidFill>
                  <a:schemeClr val="bg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5pPr>
            <a:lvl6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6pPr>
            <a:lvl7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7pPr>
            <a:lvl8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8pPr>
            <a:lvl9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70363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D19BAEC9-FD66-4F21-8513-21AE499E07F3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A9CBC99B-E8C6-4051-A9E9-0C624C40229F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11" name="Oval 5">
              <a:extLst>
                <a:ext uri="{FF2B5EF4-FFF2-40B4-BE49-F238E27FC236}">
                  <a16:creationId xmlns:a16="http://schemas.microsoft.com/office/drawing/2014/main" id="{DED38C07-9A75-471C-B61E-C6B17EDCE2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EBAC15C1-136D-42F8-A7B6-CB480B5AA0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3" name="Gruppieren 12">
              <a:extLst>
                <a:ext uri="{FF2B5EF4-FFF2-40B4-BE49-F238E27FC236}">
                  <a16:creationId xmlns:a16="http://schemas.microsoft.com/office/drawing/2014/main" id="{45361738-16C3-40AC-A788-EA9036EDBAFB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14" name="Freeform 7">
                <a:extLst>
                  <a:ext uri="{FF2B5EF4-FFF2-40B4-BE49-F238E27FC236}">
                    <a16:creationId xmlns:a16="http://schemas.microsoft.com/office/drawing/2014/main" id="{0C5DC918-EA52-4FC3-8A01-3388FE6CFA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5" name="Freeform 8">
                <a:extLst>
                  <a:ext uri="{FF2B5EF4-FFF2-40B4-BE49-F238E27FC236}">
                    <a16:creationId xmlns:a16="http://schemas.microsoft.com/office/drawing/2014/main" id="{ABB1E81B-393E-4C03-A0F0-5DA085524AB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6" name="Freeform 9">
                <a:extLst>
                  <a:ext uri="{FF2B5EF4-FFF2-40B4-BE49-F238E27FC236}">
                    <a16:creationId xmlns:a16="http://schemas.microsoft.com/office/drawing/2014/main" id="{7334091F-5E16-47D4-8265-3B46094438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10">
                <a:extLst>
                  <a:ext uri="{FF2B5EF4-FFF2-40B4-BE49-F238E27FC236}">
                    <a16:creationId xmlns:a16="http://schemas.microsoft.com/office/drawing/2014/main" id="{9FF719ED-D4C1-4360-BAB4-26734998B7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11">
                <a:extLst>
                  <a:ext uri="{FF2B5EF4-FFF2-40B4-BE49-F238E27FC236}">
                    <a16:creationId xmlns:a16="http://schemas.microsoft.com/office/drawing/2014/main" id="{B50B74DF-1EDF-4E89-A0F2-3DE62F5024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2">
                <a:extLst>
                  <a:ext uri="{FF2B5EF4-FFF2-40B4-BE49-F238E27FC236}">
                    <a16:creationId xmlns:a16="http://schemas.microsoft.com/office/drawing/2014/main" id="{B5C0C5D5-9E4D-47B8-811F-7E74CC67DAF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3">
                <a:extLst>
                  <a:ext uri="{FF2B5EF4-FFF2-40B4-BE49-F238E27FC236}">
                    <a16:creationId xmlns:a16="http://schemas.microsoft.com/office/drawing/2014/main" id="{D86D4DD4-8682-4840-A450-295468F320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4">
                <a:extLst>
                  <a:ext uri="{FF2B5EF4-FFF2-40B4-BE49-F238E27FC236}">
                    <a16:creationId xmlns:a16="http://schemas.microsoft.com/office/drawing/2014/main" id="{0DDC3BB0-F3F9-4D74-A613-68E6E9CAF43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5">
                <a:extLst>
                  <a:ext uri="{FF2B5EF4-FFF2-40B4-BE49-F238E27FC236}">
                    <a16:creationId xmlns:a16="http://schemas.microsoft.com/office/drawing/2014/main" id="{529D01BE-1D12-43D9-9580-7DD60A4ABC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6">
                <a:extLst>
                  <a:ext uri="{FF2B5EF4-FFF2-40B4-BE49-F238E27FC236}">
                    <a16:creationId xmlns:a16="http://schemas.microsoft.com/office/drawing/2014/main" id="{C99B43FC-7A0B-486C-995F-A1615F010F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" name="Untertitel 2">
            <a:extLst>
              <a:ext uri="{FF2B5EF4-FFF2-40B4-BE49-F238E27FC236}">
                <a16:creationId xmlns:a16="http://schemas.microsoft.com/office/drawing/2014/main" id="{3B2F4070-1FD5-4AA5-814E-B037EDDBD63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7248524" y="3428999"/>
            <a:ext cx="3455989" cy="1836738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latin typeface="+mj-lt"/>
              </a:defRPr>
            </a:lvl5pPr>
            <a:lvl6pPr marL="0" indent="0" algn="l">
              <a:buNone/>
              <a:defRPr sz="1600">
                <a:latin typeface="+mj-lt"/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1600">
                <a:latin typeface="+mj-lt"/>
              </a:defRPr>
            </a:lvl8pPr>
            <a:lvl9pPr marL="0" indent="0" algn="l">
              <a:buNone/>
              <a:defRPr sz="1600"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48524" y="1592263"/>
            <a:ext cx="3455989" cy="1836736"/>
          </a:xfrm>
        </p:spPr>
        <p:txBody>
          <a:bodyPr anchor="t"/>
          <a:lstStyle>
            <a:lvl1pPr>
              <a:defRPr sz="4000"/>
            </a:lvl1pPr>
            <a:lvl2pPr>
              <a:defRPr sz="4000"/>
            </a:lvl2pPr>
            <a:lvl3pPr>
              <a:defRPr sz="4000"/>
            </a:lvl3pPr>
            <a:lvl4pPr>
              <a:defRPr sz="4000"/>
            </a:lvl4pPr>
            <a:lvl5pPr>
              <a:defRPr sz="4000"/>
            </a:lvl5pPr>
            <a:lvl6pPr>
              <a:defRPr sz="4000"/>
            </a:lvl6pPr>
            <a:lvl7pPr>
              <a:defRPr sz="4000"/>
            </a:lvl7pPr>
            <a:lvl8pPr>
              <a:defRPr sz="4000"/>
            </a:lvl8pPr>
            <a:lvl9pPr>
              <a:defRPr sz="4000"/>
            </a:lvl9pPr>
          </a:lstStyle>
          <a:p>
            <a:pPr lvl="0"/>
            <a:r>
              <a:rPr lang="de-DE"/>
              <a:t>Kapitel- </a:t>
            </a:r>
            <a:r>
              <a:rPr lang="de-DE" err="1"/>
              <a:t>überschrift</a:t>
            </a:r>
            <a:endParaRPr lang="de-DE"/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9782B2D3-3015-47F5-901D-035A84A3802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6096000" cy="6223000"/>
          </a:xfrm>
          <a:custGeom>
            <a:avLst/>
            <a:gdLst>
              <a:gd name="connsiteX0" fmla="*/ 0 w 6096000"/>
              <a:gd name="connsiteY0" fmla="*/ 0 h 6223000"/>
              <a:gd name="connsiteX1" fmla="*/ 6096000 w 6096000"/>
              <a:gd name="connsiteY1" fmla="*/ 0 h 6223000"/>
              <a:gd name="connsiteX2" fmla="*/ 6096000 w 6096000"/>
              <a:gd name="connsiteY2" fmla="*/ 5356758 h 6223000"/>
              <a:gd name="connsiteX3" fmla="*/ 5229758 w 6096000"/>
              <a:gd name="connsiteY3" fmla="*/ 6223000 h 6223000"/>
              <a:gd name="connsiteX4" fmla="*/ 0 w 6096000"/>
              <a:gd name="connsiteY4" fmla="*/ 6223000 h 622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223000">
                <a:moveTo>
                  <a:pt x="0" y="0"/>
                </a:moveTo>
                <a:lnTo>
                  <a:pt x="6096000" y="0"/>
                </a:lnTo>
                <a:lnTo>
                  <a:pt x="6096000" y="5356758"/>
                </a:lnTo>
                <a:cubicBezTo>
                  <a:pt x="6096000" y="5835170"/>
                  <a:pt x="5708170" y="6223000"/>
                  <a:pt x="5229758" y="6223000"/>
                </a:cubicBezTo>
                <a:lnTo>
                  <a:pt x="0" y="6223000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470B864-D8FD-472B-9A86-77DCF86B9E6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/>
            <a:fld id="{CA0FF020-7B62-424C-B10A-279FF18F4AC9}" type="datetime1">
              <a:rPr lang="de-DE" smtClean="0"/>
              <a:t>2022-01-1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C28D540-C8DE-4034-A254-7BB58C165E0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F89D174-75D8-4071-AA9C-8B2BD14EC03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01378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folie Vollbil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13E9D82D-5D08-4FC1-95C5-CD90A0D9356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6B8D83B-3D98-4471-AF20-0C67F30100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2816224"/>
            <a:ext cx="8064500" cy="1841501"/>
          </a:xfr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/>
              <a:t>Zitat </a:t>
            </a:r>
            <a:br>
              <a:rPr lang="de-DE"/>
            </a:br>
            <a:r>
              <a:rPr lang="de-DE"/>
              <a:t>einfüg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4AD187A-8A99-4D06-B785-2C21A941A8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87488" y="4657725"/>
            <a:ext cx="3095625" cy="608013"/>
          </a:xfrm>
        </p:spPr>
        <p:txBody>
          <a:bodyPr anchor="t"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/>
              <a:t>Autor Name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88AA59F2-37D4-43F8-B192-3887B7508CA5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1160919" y="7009500"/>
            <a:ext cx="457993" cy="101671"/>
          </a:xfrm>
        </p:spPr>
        <p:txBody>
          <a:bodyPr/>
          <a:lstStyle/>
          <a:p>
            <a:pPr algn="r"/>
            <a:fld id="{2B5A8CAC-5221-4411-9468-19EFA8A4B7B2}" type="datetime1">
              <a:rPr lang="de-DE" smtClean="0"/>
              <a:t>2022-01-13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1EEDA36-86DF-4B36-9DC1-5C5F714BDF4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8401051" y="7009500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8E83B89D-AEFA-4D2D-8474-085DB9B1468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725538" y="7009500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0" name="Textplatzhalter 117">
            <a:extLst>
              <a:ext uri="{FF2B5EF4-FFF2-40B4-BE49-F238E27FC236}">
                <a16:creationId xmlns:a16="http://schemas.microsoft.com/office/drawing/2014/main" id="{BE357662-367D-4A40-9798-9F75D1A3578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38946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BAD125F8-A201-4843-B9C3-EE473EBCF2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191995 w 12192000"/>
              <a:gd name="connsiteY3" fmla="*/ 6858000 h 6858000"/>
              <a:gd name="connsiteX4" fmla="*/ 12191995 w 12192000"/>
              <a:gd name="connsiteY4" fmla="*/ 6248399 h 6858000"/>
              <a:gd name="connsiteX5" fmla="*/ 1319758 w 12192000"/>
              <a:gd name="connsiteY5" fmla="*/ 6248399 h 6858000"/>
              <a:gd name="connsiteX6" fmla="*/ 418902 w 12192000"/>
              <a:gd name="connsiteY6" fmla="*/ 6727381 h 6858000"/>
              <a:gd name="connsiteX7" fmla="*/ 348004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91995" y="6858000"/>
                </a:lnTo>
                <a:lnTo>
                  <a:pt x="12191995" y="6248399"/>
                </a:lnTo>
                <a:lnTo>
                  <a:pt x="1319758" y="6248399"/>
                </a:lnTo>
                <a:cubicBezTo>
                  <a:pt x="944758" y="6248399"/>
                  <a:pt x="614135" y="6438398"/>
                  <a:pt x="418902" y="6727381"/>
                </a:cubicBezTo>
                <a:lnTo>
                  <a:pt x="34800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2" cy="367347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130E97F4-C217-4BA2-8F72-C0A2F1385488}"/>
              </a:ext>
            </a:extLst>
          </p:cNvPr>
          <p:cNvSpPr/>
          <p:nvPr userDrawn="1"/>
        </p:nvSpPr>
        <p:spPr>
          <a:xfrm flipH="1">
            <a:off x="544131" y="6112552"/>
            <a:ext cx="11658443" cy="756028"/>
          </a:xfrm>
          <a:custGeom>
            <a:avLst/>
            <a:gdLst>
              <a:gd name="connsiteX0" fmla="*/ 10720524 w 11658443"/>
              <a:gd name="connsiteY0" fmla="*/ 0 h 756028"/>
              <a:gd name="connsiteX1" fmla="*/ 0 w 11658443"/>
              <a:gd name="connsiteY1" fmla="*/ 0 h 756028"/>
              <a:gd name="connsiteX2" fmla="*/ 0 w 11658443"/>
              <a:gd name="connsiteY2" fmla="*/ 756028 h 756028"/>
              <a:gd name="connsiteX3" fmla="*/ 11658443 w 11658443"/>
              <a:gd name="connsiteY3" fmla="*/ 756028 h 756028"/>
              <a:gd name="connsiteX4" fmla="*/ 11605940 w 11658443"/>
              <a:gd name="connsiteY4" fmla="*/ 586893 h 756028"/>
              <a:gd name="connsiteX5" fmla="*/ 10720524 w 11658443"/>
              <a:gd name="connsiteY5" fmla="*/ 0 h 756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658443" h="756028">
                <a:moveTo>
                  <a:pt x="10720524" y="0"/>
                </a:moveTo>
                <a:lnTo>
                  <a:pt x="0" y="0"/>
                </a:lnTo>
                <a:lnTo>
                  <a:pt x="0" y="756028"/>
                </a:lnTo>
                <a:lnTo>
                  <a:pt x="11658443" y="756028"/>
                </a:lnTo>
                <a:lnTo>
                  <a:pt x="11605940" y="586893"/>
                </a:lnTo>
                <a:cubicBezTo>
                  <a:pt x="11460063" y="242001"/>
                  <a:pt x="11118555" y="0"/>
                  <a:pt x="10720524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1C8B4150-817E-4B8E-916F-E8B46846C44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5999" y="1592263"/>
            <a:ext cx="4608512" cy="367347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C16F1EDE-07DF-43AB-8A65-661E3310C7DD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6" cy="635012"/>
          </a:xfrm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E1693C54-214A-467B-94D9-3C6EEBB7A9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60FD036F-A46D-4314-8131-39D809908F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4D8268D6-65FC-417B-BB85-D567682934A8}"/>
                </a:ext>
              </a:extLst>
            </p:cNvPr>
            <p:cNvGrpSpPr/>
            <p:nvPr/>
          </p:nvGrpSpPr>
          <p:grpSpPr>
            <a:xfrm>
              <a:off x="1311217" y="1530579"/>
              <a:ext cx="1533582" cy="307590"/>
              <a:chOff x="3987943" y="2307132"/>
              <a:chExt cx="2607166" cy="522910"/>
            </a:xfrm>
          </p:grpSpPr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4172BB35-8858-49CD-96AE-FDCEE59F22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8">
                <a:extLst>
                  <a:ext uri="{FF2B5EF4-FFF2-40B4-BE49-F238E27FC236}">
                    <a16:creationId xmlns:a16="http://schemas.microsoft.com/office/drawing/2014/main" id="{F340F6B4-1EFA-483F-B118-558F6661B57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9">
                <a:extLst>
                  <a:ext uri="{FF2B5EF4-FFF2-40B4-BE49-F238E27FC236}">
                    <a16:creationId xmlns:a16="http://schemas.microsoft.com/office/drawing/2014/main" id="{67E7091C-7DB4-4F54-8BD2-10E16CA708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0">
                <a:extLst>
                  <a:ext uri="{FF2B5EF4-FFF2-40B4-BE49-F238E27FC236}">
                    <a16:creationId xmlns:a16="http://schemas.microsoft.com/office/drawing/2014/main" id="{4AC1E5B1-8B93-4B6A-9CE2-8CE4650B3F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1">
                <a:extLst>
                  <a:ext uri="{FF2B5EF4-FFF2-40B4-BE49-F238E27FC236}">
                    <a16:creationId xmlns:a16="http://schemas.microsoft.com/office/drawing/2014/main" id="{B1F3E871-E4D3-47AC-AB4F-2FD7CE3DC8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9" name="Freeform 12">
                <a:extLst>
                  <a:ext uri="{FF2B5EF4-FFF2-40B4-BE49-F238E27FC236}">
                    <a16:creationId xmlns:a16="http://schemas.microsoft.com/office/drawing/2014/main" id="{CCC5F6CC-254D-4796-85D0-A82C55A1BF6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3">
                <a:extLst>
                  <a:ext uri="{FF2B5EF4-FFF2-40B4-BE49-F238E27FC236}">
                    <a16:creationId xmlns:a16="http://schemas.microsoft.com/office/drawing/2014/main" id="{D01066B0-8E74-4F18-86ED-E60684F2B0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4">
                <a:extLst>
                  <a:ext uri="{FF2B5EF4-FFF2-40B4-BE49-F238E27FC236}">
                    <a16:creationId xmlns:a16="http://schemas.microsoft.com/office/drawing/2014/main" id="{EC483BAE-FA8E-412F-B79A-2DCC30C26BD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5">
                <a:extLst>
                  <a:ext uri="{FF2B5EF4-FFF2-40B4-BE49-F238E27FC236}">
                    <a16:creationId xmlns:a16="http://schemas.microsoft.com/office/drawing/2014/main" id="{EE2F4D82-F828-4479-AF1C-2DCE4FC556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6">
                <a:extLst>
                  <a:ext uri="{FF2B5EF4-FFF2-40B4-BE49-F238E27FC236}">
                    <a16:creationId xmlns:a16="http://schemas.microsoft.com/office/drawing/2014/main" id="{8A1DBB14-E57E-4B1F-A22A-35FA040005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D5F6429-6903-4DFA-8711-34C3DBEF5FF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8AF4F5EC-B1E1-4A46-9787-0F61F6076F7A}" type="datetime1">
              <a:rPr lang="de-DE" smtClean="0"/>
              <a:t>2022-01-1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C01C9B1-F32F-4DD5-92C2-59AA306A341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5DA77D9-60AF-4B23-A340-0E478ACD3C0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5" name="Untertitel 2">
            <a:extLst>
              <a:ext uri="{FF2B5EF4-FFF2-40B4-BE49-F238E27FC236}">
                <a16:creationId xmlns:a16="http://schemas.microsoft.com/office/drawing/2014/main" id="{7A2566E7-C72F-4F20-843B-97B11B2AE3C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88030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fol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43B2B53F-4E76-4B5C-A72C-FAF82D9E2878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75201C21-CEDF-48CA-93BB-DCDE83D534C5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02C52DA6-D781-4567-9964-041EC68B06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220CFDCA-BA3A-42E0-B47F-9245B47DA7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6A0DAE39-70FF-48A6-8E27-8F70D93BDC9D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id="{0044B34A-C2D1-436E-B9BB-E778BCF8C4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4C9B4A84-E50E-4911-B5B2-518AAE16C82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4118E05D-B58E-4583-822E-8E801F1B71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1EFDAA4F-3A46-415B-B805-F62DCCDB31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0190A4D5-1889-4CEE-9622-126BC31DBD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DA77A66D-1283-4A5A-9E1F-9A051D2A2E8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03C6FEEB-6794-4EB2-9610-8A0576ADB8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349A3C5C-A554-4AC4-9892-85FEFE1EABC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E78FD7B2-7ED7-43BD-853B-C6FD3A728F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312FEFA6-7DF0-46EC-BA10-172F3435D8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2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0A241901-4314-4749-BA37-8BFED61F3C7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/>
            <a:fld id="{9EADD62B-A415-40FC-8324-D6A59E253ACC}" type="datetime1">
              <a:rPr lang="de-DE" smtClean="0"/>
              <a:t>2022-01-13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72963B00-689C-4933-A4CB-D08E8780A83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2C85099F-F1E7-44DA-A203-9C60530ED48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9" name="Untertitel 2">
            <a:extLst>
              <a:ext uri="{FF2B5EF4-FFF2-40B4-BE49-F238E27FC236}">
                <a16:creationId xmlns:a16="http://schemas.microsoft.com/office/drawing/2014/main" id="{EAA66BB2-33DC-47E3-A8EA-06C1C8EE998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839262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ild 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hteck 45">
            <a:extLst>
              <a:ext uri="{FF2B5EF4-FFF2-40B4-BE49-F238E27FC236}">
                <a16:creationId xmlns:a16="http://schemas.microsoft.com/office/drawing/2014/main" id="{3D2A4342-772C-454C-9FB8-F488668A682D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6913562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3A90691E-716D-4DE3-BDD9-DFE364F3C8D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8401050" y="0"/>
            <a:ext cx="3790950" cy="5990252"/>
          </a:xfrm>
          <a:custGeom>
            <a:avLst/>
            <a:gdLst>
              <a:gd name="connsiteX0" fmla="*/ 0 w 3790950"/>
              <a:gd name="connsiteY0" fmla="*/ 0 h 5990252"/>
              <a:gd name="connsiteX1" fmla="*/ 3790950 w 3790950"/>
              <a:gd name="connsiteY1" fmla="*/ 0 h 5990252"/>
              <a:gd name="connsiteX2" fmla="*/ 3790950 w 3790950"/>
              <a:gd name="connsiteY2" fmla="*/ 5990252 h 5990252"/>
              <a:gd name="connsiteX3" fmla="*/ 861219 w 3790950"/>
              <a:gd name="connsiteY3" fmla="*/ 5990252 h 5990252"/>
              <a:gd name="connsiteX4" fmla="*/ 0 w 3790950"/>
              <a:gd name="connsiteY4" fmla="*/ 5129033 h 599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90950" h="5990252">
                <a:moveTo>
                  <a:pt x="0" y="0"/>
                </a:moveTo>
                <a:lnTo>
                  <a:pt x="3790950" y="0"/>
                </a:lnTo>
                <a:lnTo>
                  <a:pt x="3790950" y="5990252"/>
                </a:lnTo>
                <a:lnTo>
                  <a:pt x="861219" y="5990252"/>
                </a:lnTo>
                <a:cubicBezTo>
                  <a:pt x="385581" y="5990252"/>
                  <a:pt x="0" y="5604671"/>
                  <a:pt x="0" y="512903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223D12F-5BA2-4212-90D8-C3F2987139E1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 algn="r"/>
            <a:fld id="{4AF487B9-F137-40DE-B9D4-2AFA73D646EB}" type="datetime1">
              <a:rPr lang="de-DE" smtClean="0"/>
              <a:t>2022-01-1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2B1AFC9-741A-4EC5-8430-DC0E85F28FA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D9EA5FB-BF30-46C2-B765-2D66629D139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platzhalter 117">
            <a:extLst>
              <a:ext uri="{FF2B5EF4-FFF2-40B4-BE49-F238E27FC236}">
                <a16:creationId xmlns:a16="http://schemas.microsoft.com/office/drawing/2014/main" id="{E1B82D6B-28E6-4BDE-BF4D-24E61A53183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6601FC1B-771F-4993-88C6-C265E8C9B27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477187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ild 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60CFFCAA-FE4E-4313-92E3-61D46429689A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2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33FA860D-0A1E-41CA-B1A0-2CE3754EDE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096000" y="1"/>
            <a:ext cx="6096000" cy="5990252"/>
          </a:xfrm>
          <a:custGeom>
            <a:avLst/>
            <a:gdLst>
              <a:gd name="connsiteX0" fmla="*/ 0 w 6096000"/>
              <a:gd name="connsiteY0" fmla="*/ 0 h 5990252"/>
              <a:gd name="connsiteX1" fmla="*/ 6096000 w 6096000"/>
              <a:gd name="connsiteY1" fmla="*/ 0 h 5990252"/>
              <a:gd name="connsiteX2" fmla="*/ 6096000 w 6096000"/>
              <a:gd name="connsiteY2" fmla="*/ 5990252 h 5990252"/>
              <a:gd name="connsiteX3" fmla="*/ 861219 w 6096000"/>
              <a:gd name="connsiteY3" fmla="*/ 5990252 h 5990252"/>
              <a:gd name="connsiteX4" fmla="*/ 0 w 6096000"/>
              <a:gd name="connsiteY4" fmla="*/ 5129033 h 599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5990252">
                <a:moveTo>
                  <a:pt x="0" y="0"/>
                </a:moveTo>
                <a:lnTo>
                  <a:pt x="6096000" y="0"/>
                </a:lnTo>
                <a:lnTo>
                  <a:pt x="6096000" y="5990252"/>
                </a:lnTo>
                <a:lnTo>
                  <a:pt x="861219" y="5990252"/>
                </a:lnTo>
                <a:cubicBezTo>
                  <a:pt x="385581" y="5990252"/>
                  <a:pt x="0" y="5604671"/>
                  <a:pt x="0" y="512903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B53A2B0-760E-4033-91D7-8649FC3A050C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0CADDED4-BFD6-499A-B274-2893829BA658}" type="datetime1">
              <a:rPr lang="de-DE" smtClean="0"/>
              <a:t>2022-01-1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E991CD1-EC6E-43B8-8B3F-4B3737746BE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D784862-17BF-429A-BCE7-BD798D825FD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platzhalter 117">
            <a:extLst>
              <a:ext uri="{FF2B5EF4-FFF2-40B4-BE49-F238E27FC236}">
                <a16:creationId xmlns:a16="http://schemas.microsoft.com/office/drawing/2014/main" id="{8CA28BF6-CD77-4A2E-A2AD-EB98ED41B5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227F9FFE-E277-4A36-BB69-A24DB7C013C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795335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Zitatfolie Vollbild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13E9D82D-5D08-4FC1-95C5-CD90A0D9356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6B8D83B-3D98-4471-AF20-0C67F30100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2816224"/>
            <a:ext cx="8064500" cy="1841501"/>
          </a:xfr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/>
              <a:t>Zitat </a:t>
            </a:r>
            <a:br>
              <a:rPr lang="de-DE"/>
            </a:br>
            <a:r>
              <a:rPr lang="de-DE"/>
              <a:t>einfüg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4AD187A-8A99-4D06-B785-2C21A941A8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87488" y="4657725"/>
            <a:ext cx="3095625" cy="608013"/>
          </a:xfrm>
        </p:spPr>
        <p:txBody>
          <a:bodyPr anchor="t"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/>
              <a:t>Autor Name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88AA59F2-37D4-43F8-B192-3887B7508CA5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1160919" y="7009500"/>
            <a:ext cx="457993" cy="101671"/>
          </a:xfrm>
        </p:spPr>
        <p:txBody>
          <a:bodyPr/>
          <a:lstStyle/>
          <a:p>
            <a:pPr algn="r"/>
            <a:fld id="{3678581A-AABB-467D-97ED-F87261233AEB}" type="datetime1">
              <a:rPr lang="de-DE" smtClean="0"/>
              <a:t>2022-01-13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1EEDA36-86DF-4B36-9DC1-5C5F714BDF4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8401051" y="7009500"/>
            <a:ext cx="2522534" cy="101671"/>
          </a:xfrm>
        </p:spPr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8E83B89D-AEFA-4D2D-8474-085DB9B1468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725538" y="7009500"/>
            <a:ext cx="191824" cy="101671"/>
          </a:xfrm>
        </p:spPr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0" name="Textplatzhalter 117">
            <a:extLst>
              <a:ext uri="{FF2B5EF4-FFF2-40B4-BE49-F238E27FC236}">
                <a16:creationId xmlns:a16="http://schemas.microsoft.com/office/drawing/2014/main" id="{BE357662-367D-4A40-9798-9F75D1A3578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21764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ild 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317B55F7-F5B3-46AC-9AB6-55579C09F6E2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2305050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2301875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43E2C865-4F6F-4FFB-9FA5-5FFFFBBB051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792538" y="0"/>
            <a:ext cx="8399462" cy="5990252"/>
          </a:xfrm>
          <a:custGeom>
            <a:avLst/>
            <a:gdLst>
              <a:gd name="connsiteX0" fmla="*/ 0 w 8399462"/>
              <a:gd name="connsiteY0" fmla="*/ 0 h 5990252"/>
              <a:gd name="connsiteX1" fmla="*/ 8399462 w 8399462"/>
              <a:gd name="connsiteY1" fmla="*/ 0 h 5990252"/>
              <a:gd name="connsiteX2" fmla="*/ 8399462 w 8399462"/>
              <a:gd name="connsiteY2" fmla="*/ 5990252 h 5990252"/>
              <a:gd name="connsiteX3" fmla="*/ 861219 w 8399462"/>
              <a:gd name="connsiteY3" fmla="*/ 5990252 h 5990252"/>
              <a:gd name="connsiteX4" fmla="*/ 0 w 8399462"/>
              <a:gd name="connsiteY4" fmla="*/ 5129033 h 599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399462" h="5990252">
                <a:moveTo>
                  <a:pt x="0" y="0"/>
                </a:moveTo>
                <a:lnTo>
                  <a:pt x="8399462" y="0"/>
                </a:lnTo>
                <a:lnTo>
                  <a:pt x="8399462" y="5990252"/>
                </a:lnTo>
                <a:lnTo>
                  <a:pt x="861219" y="5990252"/>
                </a:lnTo>
                <a:cubicBezTo>
                  <a:pt x="385581" y="5990252"/>
                  <a:pt x="0" y="5604671"/>
                  <a:pt x="0" y="512903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B0E5F44-7D73-4948-A7F2-232AB4FF03C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FAE64A5F-B510-492F-927B-67500A22B5A0}" type="datetime1">
              <a:rPr lang="de-DE" smtClean="0"/>
              <a:t>2022-01-1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FA77F78-4CC6-4F26-8568-3DB995886CD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1FCC11E2-1CDF-49C5-9FE1-DB63FC68EC2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platzhalter 117">
            <a:extLst>
              <a:ext uri="{FF2B5EF4-FFF2-40B4-BE49-F238E27FC236}">
                <a16:creationId xmlns:a16="http://schemas.microsoft.com/office/drawing/2014/main" id="{E884F540-0080-4436-99F9-12F8A496165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EC97D640-6B3B-4482-984E-058A4D573E3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2301875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3751057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Handy Mock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4FB74C79-6B2D-447C-A2E5-85FB3B12B787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D37BE5F2-D7FB-4977-8AF7-D18E307485C0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7167D78A-F631-4872-8F60-EFB6C3F3F2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EC11866A-2BDE-489A-8672-1BDDD2DDCA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412BBC8C-A999-4145-8AF2-263B11FCF75C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id="{757D08F4-328E-40C1-B69B-14F4437DE1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25251DDD-805D-4D26-BF44-4C9F5441CA2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FC4DAFC4-E681-44F5-B923-1F20567D25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EBAA4CDC-2750-471B-AD22-96D8C847C9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DC2428D3-3B70-4634-A5C7-5803307737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3E7E9CD4-A2C5-419E-9B44-13A4212813D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498E6F53-74C9-452A-9930-4FBABABA06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DBED4D4F-FE8B-4103-97F7-7BFC82163AF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E3A5F04A-8433-42FB-9FB9-A2B210CE6A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A49C6C45-95C3-4970-9C5B-9B96FA94F5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 userDrawn="1"/>
        </p:nvSpPr>
        <p:spPr>
          <a:xfrm>
            <a:off x="7812776" y="1130300"/>
            <a:ext cx="2293249" cy="4800600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8138" y="1592263"/>
            <a:ext cx="5761037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4" name="Grafik 13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8154BCEC-D9D2-4955-A59E-FC7B39327B5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736702" y="686312"/>
            <a:ext cx="4049097" cy="6273288"/>
          </a:xfrm>
          <a:prstGeom prst="rect">
            <a:avLst/>
          </a:prstGeom>
        </p:spPr>
      </p:pic>
      <p:sp>
        <p:nvSpPr>
          <p:cNvPr id="48" name="Bildplatzhalter 47">
            <a:extLst>
              <a:ext uri="{FF2B5EF4-FFF2-40B4-BE49-F238E27FC236}">
                <a16:creationId xmlns:a16="http://schemas.microsoft.com/office/drawing/2014/main" id="{21BB63CB-D1F9-47F4-BC55-11AD749DA26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188325" y="834258"/>
            <a:ext cx="2235362" cy="4833117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2EF9841-421F-4152-880D-BBF3BBD10B58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D2A946C4-54A8-41BF-BA2A-0EA3021F19C2}" type="datetime1">
              <a:rPr lang="de-DE" smtClean="0"/>
              <a:t>2022-01-13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A86F7D5-69CA-4283-8022-108E607FC8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0EDD423B-497D-4CCF-A170-87E1DA4963E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9" name="Untertitel 2">
            <a:extLst>
              <a:ext uri="{FF2B5EF4-FFF2-40B4-BE49-F238E27FC236}">
                <a16:creationId xmlns:a16="http://schemas.microsoft.com/office/drawing/2014/main" id="{D6366927-90FB-43C4-90DE-8D43A3B8962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98726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Handy Mock Up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FEB09ED1-D2C0-4AA9-B708-2A32DD37818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3429000 h 6858000"/>
              <a:gd name="connsiteX3" fmla="*/ 7023099 w 12192000"/>
              <a:gd name="connsiteY3" fmla="*/ 3429000 h 6858000"/>
              <a:gd name="connsiteX4" fmla="*/ 6096000 w 12192000"/>
              <a:gd name="connsiteY4" fmla="*/ 4356099 h 6858000"/>
              <a:gd name="connsiteX5" fmla="*/ 6096000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7023099" y="3429000"/>
                </a:lnTo>
                <a:cubicBezTo>
                  <a:pt x="6511076" y="3429000"/>
                  <a:pt x="6096000" y="3844076"/>
                  <a:pt x="6096000" y="4356099"/>
                </a:cubicBez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 userDrawn="1"/>
        </p:nvSpPr>
        <p:spPr>
          <a:xfrm>
            <a:off x="7812776" y="1130300"/>
            <a:ext cx="2293249" cy="4800600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8138" y="1592263"/>
            <a:ext cx="4605338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9" name="Grafik 1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04A93760-5CB7-4A71-88CE-5A17695854F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736702" y="686312"/>
            <a:ext cx="4049097" cy="6273288"/>
          </a:xfrm>
          <a:prstGeom prst="rect">
            <a:avLst/>
          </a:prstGeom>
        </p:spPr>
      </p:pic>
      <p:sp>
        <p:nvSpPr>
          <p:cNvPr id="12" name="Bildplatzhalter 47">
            <a:extLst>
              <a:ext uri="{FF2B5EF4-FFF2-40B4-BE49-F238E27FC236}">
                <a16:creationId xmlns:a16="http://schemas.microsoft.com/office/drawing/2014/main" id="{9FFF591E-DE1B-4866-BA8A-50846A0938A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188325" y="834258"/>
            <a:ext cx="2235362" cy="4833117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9FAA5AB-AF5D-45FC-9331-37CB30DA67F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2297B2EB-060C-48A5-B135-F0DC8C15DB6F}" type="datetime1">
              <a:rPr lang="de-DE" smtClean="0"/>
              <a:t>2022-01-13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586052F2-2BEC-49E6-B1FD-629E3243462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CC481FCD-D56C-4922-BAFD-224BE4BC24F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01E1623E-C7C8-456D-B712-2ACDFE584EBB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5" cy="635012"/>
          </a:xfrm>
        </p:grpSpPr>
        <p:sp>
          <p:nvSpPr>
            <p:cNvPr id="14" name="Oval 5">
              <a:extLst>
                <a:ext uri="{FF2B5EF4-FFF2-40B4-BE49-F238E27FC236}">
                  <a16:creationId xmlns:a16="http://schemas.microsoft.com/office/drawing/2014/main" id="{358E2997-F269-4B55-819A-BD949E9783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576BB871-46F7-4C87-A566-E27C94415E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1553D4F3-B8D5-4E12-8C8B-CA8D8E2770C0}"/>
                </a:ext>
              </a:extLst>
            </p:cNvPr>
            <p:cNvGrpSpPr/>
            <p:nvPr/>
          </p:nvGrpSpPr>
          <p:grpSpPr>
            <a:xfrm>
              <a:off x="1311216" y="1530579"/>
              <a:ext cx="1533582" cy="307590"/>
              <a:chOff x="3987943" y="2307132"/>
              <a:chExt cx="2607166" cy="522910"/>
            </a:xfrm>
          </p:grpSpPr>
          <p:sp>
            <p:nvSpPr>
              <p:cNvPr id="18" name="Freeform 7">
                <a:extLst>
                  <a:ext uri="{FF2B5EF4-FFF2-40B4-BE49-F238E27FC236}">
                    <a16:creationId xmlns:a16="http://schemas.microsoft.com/office/drawing/2014/main" id="{27F14C16-9401-415C-8BD8-DEE7D893D8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0D470AC2-F14B-419D-9CAB-34FCD7601E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D544B772-451B-4E62-A44C-36EEB45F0E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F3045032-1089-4088-B9C1-C273C1BDBB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F21C82FE-8694-4686-BBB5-827622BDA3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44A7E0A4-CDDC-416C-AC69-00FF083A8DC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9DB17AFF-3E32-4842-B851-1F44A3300B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7A4A52D1-E196-43E8-A898-BE5460788F3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05E985F5-C685-49A8-AA2F-949F5BFF5A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DFBA3D12-4595-491A-9605-D4FFC67076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Untertitel 2">
            <a:extLst>
              <a:ext uri="{FF2B5EF4-FFF2-40B4-BE49-F238E27FC236}">
                <a16:creationId xmlns:a16="http://schemas.microsoft.com/office/drawing/2014/main" id="{97F88236-EA43-4029-90D7-41D35FBC1B2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4023534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 Handy Mock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F693E912-CA16-42BD-9B13-E1115EE96111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889F97A2-ABF2-4D64-AA66-7883CE332E97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6" name="Oval 5">
              <a:extLst>
                <a:ext uri="{FF2B5EF4-FFF2-40B4-BE49-F238E27FC236}">
                  <a16:creationId xmlns:a16="http://schemas.microsoft.com/office/drawing/2014/main" id="{66F7C95D-74B4-4F5C-BBA7-91A1AB90BE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3D9B1101-3E32-4271-B4DC-D4062FF254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8" name="Gruppieren 27">
              <a:extLst>
                <a:ext uri="{FF2B5EF4-FFF2-40B4-BE49-F238E27FC236}">
                  <a16:creationId xmlns:a16="http://schemas.microsoft.com/office/drawing/2014/main" id="{9829AB22-8D52-461F-B440-26A77B86CB0D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29" name="Freeform 7">
                <a:extLst>
                  <a:ext uri="{FF2B5EF4-FFF2-40B4-BE49-F238E27FC236}">
                    <a16:creationId xmlns:a16="http://schemas.microsoft.com/office/drawing/2014/main" id="{4CF857CC-2901-4F42-9233-853B5D63AE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8">
                <a:extLst>
                  <a:ext uri="{FF2B5EF4-FFF2-40B4-BE49-F238E27FC236}">
                    <a16:creationId xmlns:a16="http://schemas.microsoft.com/office/drawing/2014/main" id="{11FE3F05-9217-42BC-80A9-AAC7E6E849E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9">
                <a:extLst>
                  <a:ext uri="{FF2B5EF4-FFF2-40B4-BE49-F238E27FC236}">
                    <a16:creationId xmlns:a16="http://schemas.microsoft.com/office/drawing/2014/main" id="{16B3B9FE-F133-438D-AD84-EC51942391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0">
                <a:extLst>
                  <a:ext uri="{FF2B5EF4-FFF2-40B4-BE49-F238E27FC236}">
                    <a16:creationId xmlns:a16="http://schemas.microsoft.com/office/drawing/2014/main" id="{8FBD55AD-9814-4F26-B91E-D2C4B92999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1">
                <a:extLst>
                  <a:ext uri="{FF2B5EF4-FFF2-40B4-BE49-F238E27FC236}">
                    <a16:creationId xmlns:a16="http://schemas.microsoft.com/office/drawing/2014/main" id="{C30F0D69-4CC1-4454-B748-72DFF851EB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2">
                <a:extLst>
                  <a:ext uri="{FF2B5EF4-FFF2-40B4-BE49-F238E27FC236}">
                    <a16:creationId xmlns:a16="http://schemas.microsoft.com/office/drawing/2014/main" id="{0AAA4B98-3BAE-4F2F-872C-6C32595267F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3">
                <a:extLst>
                  <a:ext uri="{FF2B5EF4-FFF2-40B4-BE49-F238E27FC236}">
                    <a16:creationId xmlns:a16="http://schemas.microsoft.com/office/drawing/2014/main" id="{F07DF6E7-F0CD-4ED2-87FD-6841CDC592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4">
                <a:extLst>
                  <a:ext uri="{FF2B5EF4-FFF2-40B4-BE49-F238E27FC236}">
                    <a16:creationId xmlns:a16="http://schemas.microsoft.com/office/drawing/2014/main" id="{9A456FC8-BDB6-4546-ABF9-E769BDB6F0F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5">
                <a:extLst>
                  <a:ext uri="{FF2B5EF4-FFF2-40B4-BE49-F238E27FC236}">
                    <a16:creationId xmlns:a16="http://schemas.microsoft.com/office/drawing/2014/main" id="{6C563657-972E-403C-94BC-040D3D7BAB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6">
                <a:extLst>
                  <a:ext uri="{FF2B5EF4-FFF2-40B4-BE49-F238E27FC236}">
                    <a16:creationId xmlns:a16="http://schemas.microsoft.com/office/drawing/2014/main" id="{BAFE9A3D-A61B-4444-B4F4-796B96D8ED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4" y="1592263"/>
            <a:ext cx="3672850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2EF9841-421F-4152-880D-BBF3BBD10B58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8EFF8FF9-8640-424A-AECB-123F0D8FA975}" type="datetime1">
              <a:rPr lang="de-DE" smtClean="0"/>
              <a:t>2022-01-13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A86F7D5-69CA-4283-8022-108E607FC8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0EDD423B-497D-4CCF-A170-87E1DA4963E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C2346866-6A4B-4F6D-B6A3-C5F9E9CC4A34}"/>
              </a:ext>
            </a:extLst>
          </p:cNvPr>
          <p:cNvSpPr/>
          <p:nvPr/>
        </p:nvSpPr>
        <p:spPr>
          <a:xfrm>
            <a:off x="4799975" y="1873261"/>
            <a:ext cx="1451388" cy="3038279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pic>
        <p:nvPicPr>
          <p:cNvPr id="15" name="Grafik 14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A2ECC125-1D19-463D-901C-78124C185B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18932" y="1592263"/>
            <a:ext cx="2562657" cy="3970337"/>
          </a:xfrm>
          <a:prstGeom prst="rect">
            <a:avLst/>
          </a:prstGeom>
        </p:spPr>
      </p:pic>
      <p:sp>
        <p:nvSpPr>
          <p:cNvPr id="18" name="Rechteck: abgerundete Ecken 17">
            <a:extLst>
              <a:ext uri="{FF2B5EF4-FFF2-40B4-BE49-F238E27FC236}">
                <a16:creationId xmlns:a16="http://schemas.microsoft.com/office/drawing/2014/main" id="{8068B0AF-45C9-4587-80AA-5FB0C48136E6}"/>
              </a:ext>
            </a:extLst>
          </p:cNvPr>
          <p:cNvSpPr/>
          <p:nvPr/>
        </p:nvSpPr>
        <p:spPr>
          <a:xfrm>
            <a:off x="8253833" y="1873261"/>
            <a:ext cx="1451388" cy="3038279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pic>
        <p:nvPicPr>
          <p:cNvPr id="19" name="Grafik 1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4EA724CD-CCCA-40EB-9BBF-7E7FF8A98E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72790" y="1592263"/>
            <a:ext cx="2562657" cy="3970337"/>
          </a:xfrm>
          <a:prstGeom prst="rect">
            <a:avLst/>
          </a:prstGeom>
        </p:spPr>
      </p:pic>
      <p:sp>
        <p:nvSpPr>
          <p:cNvPr id="35" name="Bildplatzhalter 47">
            <a:extLst>
              <a:ext uri="{FF2B5EF4-FFF2-40B4-BE49-F238E27FC236}">
                <a16:creationId xmlns:a16="http://schemas.microsoft.com/office/drawing/2014/main" id="{491BA93E-E5F3-48AC-A3BA-B7D4CD7DBEC5}"/>
              </a:ext>
            </a:extLst>
          </p:cNvPr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5037658" y="1685897"/>
            <a:ext cx="1414752" cy="3055001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37" name="Bildplatzhalter 47">
            <a:extLst>
              <a:ext uri="{FF2B5EF4-FFF2-40B4-BE49-F238E27FC236}">
                <a16:creationId xmlns:a16="http://schemas.microsoft.com/office/drawing/2014/main" id="{574E156E-CBCD-45CF-AAC9-84D35B20AAC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8491516" y="1685897"/>
            <a:ext cx="1414752" cy="3055001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38" name="Textplatzhalter 5">
            <a:extLst>
              <a:ext uri="{FF2B5EF4-FFF2-40B4-BE49-F238E27FC236}">
                <a16:creationId xmlns:a16="http://schemas.microsoft.com/office/drawing/2014/main" id="{C0A94FD5-C278-4C7F-A805-75DA9B93B8F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943474" y="5149895"/>
            <a:ext cx="2228035" cy="412706"/>
          </a:xfrm>
        </p:spPr>
        <p:txBody>
          <a:bodyPr anchor="t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1</a:t>
            </a:r>
          </a:p>
        </p:txBody>
      </p:sp>
      <p:sp>
        <p:nvSpPr>
          <p:cNvPr id="20" name="Textplatzhalter 5">
            <a:extLst>
              <a:ext uri="{FF2B5EF4-FFF2-40B4-BE49-F238E27FC236}">
                <a16:creationId xmlns:a16="http://schemas.microsoft.com/office/drawing/2014/main" id="{5676D185-2C51-4F27-B9D6-5A1E42D749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01051" y="5149895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2</a:t>
            </a:r>
          </a:p>
        </p:txBody>
      </p:sp>
      <p:sp>
        <p:nvSpPr>
          <p:cNvPr id="21" name="Textplatzhalter 28">
            <a:extLst>
              <a:ext uri="{FF2B5EF4-FFF2-40B4-BE49-F238E27FC236}">
                <a16:creationId xmlns:a16="http://schemas.microsoft.com/office/drawing/2014/main" id="{43C8CC5A-2B84-4101-830B-BCD94185DE4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43474" y="5562601"/>
            <a:ext cx="2665414" cy="711199"/>
          </a:xfrm>
        </p:spPr>
        <p:txBody>
          <a:bodyPr anchor="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2" name="Textplatzhalter 28">
            <a:extLst>
              <a:ext uri="{FF2B5EF4-FFF2-40B4-BE49-F238E27FC236}">
                <a16:creationId xmlns:a16="http://schemas.microsoft.com/office/drawing/2014/main" id="{C3041C11-8D41-447B-B837-FF9F7E94DC8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01051" y="5562601"/>
            <a:ext cx="2665414" cy="711199"/>
          </a:xfrm>
        </p:spPr>
        <p:txBody>
          <a:bodyPr anchor="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42" name="Untertitel 2">
            <a:extLst>
              <a:ext uri="{FF2B5EF4-FFF2-40B4-BE49-F238E27FC236}">
                <a16:creationId xmlns:a16="http://schemas.microsoft.com/office/drawing/2014/main" id="{B04FDCBC-2809-43F8-B841-D7DD67681EB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3149171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iPad Mock Up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>
            <a:extLst>
              <a:ext uri="{FF2B5EF4-FFF2-40B4-BE49-F238E27FC236}">
                <a16:creationId xmlns:a16="http://schemas.microsoft.com/office/drawing/2014/main" id="{CCD9FFDD-9BB5-4BE1-84EB-7A062A112EC5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 userDrawn="1"/>
        </p:nvSpPr>
        <p:spPr>
          <a:xfrm>
            <a:off x="7039363" y="883805"/>
            <a:ext cx="3838704" cy="5024482"/>
          </a:xfrm>
          <a:prstGeom prst="roundRect">
            <a:avLst>
              <a:gd name="adj" fmla="val 786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5761037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610447DE-E9B1-426F-82A5-E201443FF2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0770" t="2076" r="21396"/>
          <a:stretch/>
        </p:blipFill>
        <p:spPr>
          <a:xfrm>
            <a:off x="4943475" y="0"/>
            <a:ext cx="7248525" cy="6715642"/>
          </a:xfrm>
          <a:prstGeom prst="rect">
            <a:avLst/>
          </a:prstGeom>
        </p:spPr>
      </p:pic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034FB8A-2730-47DE-9C0C-033D8CB058B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346951" y="863600"/>
            <a:ext cx="3540124" cy="4718049"/>
          </a:xfrm>
          <a:prstGeom prst="roundRect">
            <a:avLst>
              <a:gd name="adj" fmla="val 1667"/>
            </a:avLst>
          </a:prstGeo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7176DD0E-9929-4538-ACFB-E458064BEE1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4A85EF70-518E-4EA2-A0C1-93C6303898E9}" type="datetime1">
              <a:rPr lang="de-DE" smtClean="0"/>
              <a:t>2022-01-13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6E9E8ECA-2D12-46E2-8C00-0D84AE7CF77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C25A6720-D3C1-4E2C-85FF-10DE442AAA0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2D7A1028-999B-4854-BF34-82DF67E307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3478689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iPad Mock Up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2C37800F-9453-4EDC-97E8-0481E758488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3429000 h 6858000"/>
              <a:gd name="connsiteX3" fmla="*/ 7023099 w 12192000"/>
              <a:gd name="connsiteY3" fmla="*/ 3429000 h 6858000"/>
              <a:gd name="connsiteX4" fmla="*/ 6096000 w 12192000"/>
              <a:gd name="connsiteY4" fmla="*/ 4356099 h 6858000"/>
              <a:gd name="connsiteX5" fmla="*/ 6096000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7023099" y="3429000"/>
                </a:lnTo>
                <a:cubicBezTo>
                  <a:pt x="6511076" y="3429000"/>
                  <a:pt x="6096000" y="3844076"/>
                  <a:pt x="6096000" y="4356099"/>
                </a:cubicBez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 userDrawn="1"/>
        </p:nvSpPr>
        <p:spPr>
          <a:xfrm>
            <a:off x="7039363" y="883805"/>
            <a:ext cx="3838704" cy="5024482"/>
          </a:xfrm>
          <a:prstGeom prst="roundRect">
            <a:avLst>
              <a:gd name="adj" fmla="val 786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3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610447DE-E9B1-426F-82A5-E201443FF2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7399" t="2076" r="21395"/>
          <a:stretch/>
        </p:blipFill>
        <p:spPr>
          <a:xfrm>
            <a:off x="4583113" y="0"/>
            <a:ext cx="7608887" cy="6715642"/>
          </a:xfrm>
          <a:prstGeom prst="rect">
            <a:avLst/>
          </a:prstGeom>
          <a:ln>
            <a:noFill/>
          </a:ln>
        </p:spPr>
      </p:pic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034FB8A-2730-47DE-9C0C-033D8CB058B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346951" y="863600"/>
            <a:ext cx="3540124" cy="4718049"/>
          </a:xfrm>
          <a:prstGeom prst="roundRect">
            <a:avLst>
              <a:gd name="adj" fmla="val 1667"/>
            </a:avLst>
          </a:prstGeo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EE2E0E08-E5AC-46D2-99B4-35BA98B72A2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7B23A059-46F4-4115-A301-909A0186FCEA}" type="datetime1">
              <a:rPr lang="de-DE" smtClean="0"/>
              <a:t>2022-01-13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3D9E1DE6-5FAE-435F-8AB8-2D86709EE6F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EE4286F4-D689-4FFC-91E4-90B2645B9A9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C6753097-1DB3-419A-91AC-D5B72E871A6B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5" cy="635012"/>
          </a:xfrm>
        </p:grpSpPr>
        <p:sp>
          <p:nvSpPr>
            <p:cNvPr id="15" name="Oval 5">
              <a:extLst>
                <a:ext uri="{FF2B5EF4-FFF2-40B4-BE49-F238E27FC236}">
                  <a16:creationId xmlns:a16="http://schemas.microsoft.com/office/drawing/2014/main" id="{D9D85354-3FEE-4119-853F-1445998749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CD487532-8521-417D-A048-8C4669F44C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9BD55D0F-593D-4A0D-BDE4-5B4526B1B436}"/>
                </a:ext>
              </a:extLst>
            </p:cNvPr>
            <p:cNvGrpSpPr/>
            <p:nvPr/>
          </p:nvGrpSpPr>
          <p:grpSpPr>
            <a:xfrm>
              <a:off x="1311216" y="1530579"/>
              <a:ext cx="1533582" cy="307590"/>
              <a:chOff x="3987943" y="2307132"/>
              <a:chExt cx="2607166" cy="522910"/>
            </a:xfrm>
          </p:grpSpPr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id="{88A73487-47E1-40BC-8038-B766B67DE0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766DB691-F432-4C12-AD93-97CDBC51174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5B123C74-CC3A-4AD1-9730-E708E9E6CB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23C307AD-317D-49F1-A441-ED1F085FA2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32A47BD3-B6FB-4D5B-8877-027C93A600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9CA9328C-1744-4387-B2F3-894A3FDF23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A9FB15DC-2278-452D-9B77-04B672B950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7F9A4067-A3D0-46C1-A9A2-E06E9AE5E9D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28C6CDC7-E6AB-4633-989A-4AA770A644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E6F3B9CD-F6AE-4110-B914-353C627514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Untertitel 2">
            <a:extLst>
              <a:ext uri="{FF2B5EF4-FFF2-40B4-BE49-F238E27FC236}">
                <a16:creationId xmlns:a16="http://schemas.microsoft.com/office/drawing/2014/main" id="{A296AC21-E0D0-4C91-908F-3BC0678ED0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984258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ext Handy Mock Up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42E96BDD-39A8-4207-B404-F13692152412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8138" y="1592263"/>
            <a:ext cx="4605338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2" name="Grafik 11" descr="Ein Bild, das Screenshot, Laptop, Monitor, Computer enthält.&#10;&#10;Automatisch generierte Beschreibung">
            <a:extLst>
              <a:ext uri="{FF2B5EF4-FFF2-40B4-BE49-F238E27FC236}">
                <a16:creationId xmlns:a16="http://schemas.microsoft.com/office/drawing/2014/main" id="{FA77D189-6797-4577-BAA8-586C620A049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9256" t="1596" r="17397" b="11922"/>
          <a:stretch/>
        </p:blipFill>
        <p:spPr>
          <a:xfrm>
            <a:off x="4664075" y="927099"/>
            <a:ext cx="7248525" cy="5930901"/>
          </a:xfrm>
          <a:prstGeom prst="rect">
            <a:avLst/>
          </a:prstGeom>
        </p:spPr>
      </p:pic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A3D237B3-D03E-4E3B-843B-878E7432337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13450" y="2308224"/>
            <a:ext cx="4924425" cy="3073401"/>
          </a:xfr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70EB910-E9BB-4098-920D-18DAC1BCAF1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690BEE1C-4032-4B75-8291-C35DC1379E02}" type="datetime1">
              <a:rPr lang="de-DE" smtClean="0"/>
              <a:t>2022-01-1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F2F0E9D-60A9-4F53-BA09-C1D4CC7AA0F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AAA1933-32F6-413A-B222-EEFB93717F2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Untertitel 2">
            <a:extLst>
              <a:ext uri="{FF2B5EF4-FFF2-40B4-BE49-F238E27FC236}">
                <a16:creationId xmlns:a16="http://schemas.microsoft.com/office/drawing/2014/main" id="{3117FBB9-DB8A-40F5-931C-028B0F88F97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177155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ext iPad Mock Up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reihandform: Form 23">
            <a:extLst>
              <a:ext uri="{FF2B5EF4-FFF2-40B4-BE49-F238E27FC236}">
                <a16:creationId xmlns:a16="http://schemas.microsoft.com/office/drawing/2014/main" id="{5BC63CF1-AB2D-493B-90A3-E2C49E60720A}"/>
              </a:ext>
            </a:extLst>
          </p:cNvPr>
          <p:cNvSpPr>
            <a:spLocks/>
          </p:cNvSpPr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3429000 h 6858000"/>
              <a:gd name="connsiteX3" fmla="*/ 5883844 w 12192000"/>
              <a:gd name="connsiteY3" fmla="*/ 3429000 h 6858000"/>
              <a:gd name="connsiteX4" fmla="*/ 4943475 w 12192000"/>
              <a:gd name="connsiteY4" fmla="*/ 4369369 h 6858000"/>
              <a:gd name="connsiteX5" fmla="*/ 4943475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5883844" y="3429000"/>
                </a:lnTo>
                <a:cubicBezTo>
                  <a:pt x="5364493" y="3429000"/>
                  <a:pt x="4943475" y="3850018"/>
                  <a:pt x="4943475" y="4369369"/>
                </a:cubicBezTo>
                <a:lnTo>
                  <a:pt x="494347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8" name="Freihandform: Form 27">
            <a:extLst>
              <a:ext uri="{FF2B5EF4-FFF2-40B4-BE49-F238E27FC236}">
                <a16:creationId xmlns:a16="http://schemas.microsoft.com/office/drawing/2014/main" id="{936841C3-C392-43BC-AF60-72446A294FA0}"/>
              </a:ext>
            </a:extLst>
          </p:cNvPr>
          <p:cNvSpPr/>
          <p:nvPr userDrawn="1"/>
        </p:nvSpPr>
        <p:spPr>
          <a:xfrm flipH="1">
            <a:off x="5099343" y="3213933"/>
            <a:ext cx="7170708" cy="3748842"/>
          </a:xfrm>
          <a:custGeom>
            <a:avLst/>
            <a:gdLst>
              <a:gd name="connsiteX0" fmla="*/ 6132037 w 7170708"/>
              <a:gd name="connsiteY0" fmla="*/ 0 h 3748842"/>
              <a:gd name="connsiteX1" fmla="*/ 0 w 7170708"/>
              <a:gd name="connsiteY1" fmla="*/ 0 h 3748842"/>
              <a:gd name="connsiteX2" fmla="*/ 0 w 7170708"/>
              <a:gd name="connsiteY2" fmla="*/ 3748842 h 3748842"/>
              <a:gd name="connsiteX3" fmla="*/ 7170708 w 7170708"/>
              <a:gd name="connsiteY3" fmla="*/ 3748842 h 3748842"/>
              <a:gd name="connsiteX4" fmla="*/ 7170708 w 7170708"/>
              <a:gd name="connsiteY4" fmla="*/ 1038671 h 3748842"/>
              <a:gd name="connsiteX5" fmla="*/ 6132037 w 7170708"/>
              <a:gd name="connsiteY5" fmla="*/ 0 h 3748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170708" h="3748842">
                <a:moveTo>
                  <a:pt x="6132037" y="0"/>
                </a:moveTo>
                <a:lnTo>
                  <a:pt x="0" y="0"/>
                </a:lnTo>
                <a:lnTo>
                  <a:pt x="0" y="3748842"/>
                </a:lnTo>
                <a:lnTo>
                  <a:pt x="7170708" y="3748842"/>
                </a:lnTo>
                <a:lnTo>
                  <a:pt x="7170708" y="1038671"/>
                </a:lnTo>
                <a:cubicBezTo>
                  <a:pt x="7170708" y="465029"/>
                  <a:pt x="6705679" y="0"/>
                  <a:pt x="6132037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8138" y="1592263"/>
            <a:ext cx="4244975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7" name="Grafik 16" descr="Ein Bild, das Screenshot, Laptop, Monitor, Computer enthält.&#10;&#10;Automatisch generierte Beschreibung">
            <a:extLst>
              <a:ext uri="{FF2B5EF4-FFF2-40B4-BE49-F238E27FC236}">
                <a16:creationId xmlns:a16="http://schemas.microsoft.com/office/drawing/2014/main" id="{F975FC98-9C9A-4B54-BAA5-D026FFF13A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9256" t="1596" r="17397" b="11922"/>
          <a:stretch/>
        </p:blipFill>
        <p:spPr>
          <a:xfrm>
            <a:off x="4664075" y="927099"/>
            <a:ext cx="7248525" cy="5930901"/>
          </a:xfrm>
          <a:prstGeom prst="rect">
            <a:avLst/>
          </a:prstGeom>
        </p:spPr>
      </p:pic>
      <p:sp>
        <p:nvSpPr>
          <p:cNvPr id="18" name="Bildplatzhalter 15">
            <a:extLst>
              <a:ext uri="{FF2B5EF4-FFF2-40B4-BE49-F238E27FC236}">
                <a16:creationId xmlns:a16="http://schemas.microsoft.com/office/drawing/2014/main" id="{AFAC29CB-6258-49F1-AEFE-48C4C763D58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13450" y="2308224"/>
            <a:ext cx="4924425" cy="3073401"/>
          </a:xfr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7A6C8F5-0559-4B3D-A642-2C4638D4E8E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7B91E3BC-1A4A-4408-AB58-7E2CC7732A2B}" type="datetime1">
              <a:rPr lang="de-DE" smtClean="0"/>
              <a:t>2022-01-1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9C13510-10A4-41C5-8ACF-EB970AA0B7A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A8607A9F-7336-4B10-9A47-B08A47C9013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9FED8C54-FAC3-4862-9B8D-DE240B68C898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5" cy="635012"/>
          </a:xfrm>
        </p:grpSpPr>
        <p:sp>
          <p:nvSpPr>
            <p:cNvPr id="12" name="Oval 5">
              <a:extLst>
                <a:ext uri="{FF2B5EF4-FFF2-40B4-BE49-F238E27FC236}">
                  <a16:creationId xmlns:a16="http://schemas.microsoft.com/office/drawing/2014/main" id="{618A242A-4252-4D1B-815B-B50970AB97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42F15D90-51AE-42BE-9523-CD3B8E3320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26A914C2-F17F-4D57-BA1C-16F80E685638}"/>
                </a:ext>
              </a:extLst>
            </p:cNvPr>
            <p:cNvGrpSpPr/>
            <p:nvPr/>
          </p:nvGrpSpPr>
          <p:grpSpPr>
            <a:xfrm>
              <a:off x="1311216" y="1530579"/>
              <a:ext cx="1533582" cy="307590"/>
              <a:chOff x="3987943" y="2307132"/>
              <a:chExt cx="2607166" cy="522910"/>
            </a:xfrm>
          </p:grpSpPr>
          <p:sp>
            <p:nvSpPr>
              <p:cNvPr id="15" name="Freeform 7">
                <a:extLst>
                  <a:ext uri="{FF2B5EF4-FFF2-40B4-BE49-F238E27FC236}">
                    <a16:creationId xmlns:a16="http://schemas.microsoft.com/office/drawing/2014/main" id="{4E7333A9-F536-43FC-ABA8-4A162CBED9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6" name="Freeform 8">
                <a:extLst>
                  <a:ext uri="{FF2B5EF4-FFF2-40B4-BE49-F238E27FC236}">
                    <a16:creationId xmlns:a16="http://schemas.microsoft.com/office/drawing/2014/main" id="{313E2420-E184-49F6-8BFA-375E9544E8C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9">
                <a:extLst>
                  <a:ext uri="{FF2B5EF4-FFF2-40B4-BE49-F238E27FC236}">
                    <a16:creationId xmlns:a16="http://schemas.microsoft.com/office/drawing/2014/main" id="{01C04114-EC10-47A0-81C9-9838F74193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0">
                <a:extLst>
                  <a:ext uri="{FF2B5EF4-FFF2-40B4-BE49-F238E27FC236}">
                    <a16:creationId xmlns:a16="http://schemas.microsoft.com/office/drawing/2014/main" id="{8643CAF3-5E79-4D28-B7EB-070C2194D4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1">
                <a:extLst>
                  <a:ext uri="{FF2B5EF4-FFF2-40B4-BE49-F238E27FC236}">
                    <a16:creationId xmlns:a16="http://schemas.microsoft.com/office/drawing/2014/main" id="{2295F6D0-883B-49BE-B001-CED3629ED5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2">
                <a:extLst>
                  <a:ext uri="{FF2B5EF4-FFF2-40B4-BE49-F238E27FC236}">
                    <a16:creationId xmlns:a16="http://schemas.microsoft.com/office/drawing/2014/main" id="{BC0F5639-ECB9-4517-8CDE-69479470C2E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3">
                <a:extLst>
                  <a:ext uri="{FF2B5EF4-FFF2-40B4-BE49-F238E27FC236}">
                    <a16:creationId xmlns:a16="http://schemas.microsoft.com/office/drawing/2014/main" id="{C159270D-DF8D-4AC3-8363-CCAC82EFE2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4">
                <a:extLst>
                  <a:ext uri="{FF2B5EF4-FFF2-40B4-BE49-F238E27FC236}">
                    <a16:creationId xmlns:a16="http://schemas.microsoft.com/office/drawing/2014/main" id="{38301C80-BCB6-4108-9076-400D64B6E53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5">
                <a:extLst>
                  <a:ext uri="{FF2B5EF4-FFF2-40B4-BE49-F238E27FC236}">
                    <a16:creationId xmlns:a16="http://schemas.microsoft.com/office/drawing/2014/main" id="{D0B10E0F-1854-4556-B36F-842D6CD836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6">
                <a:extLst>
                  <a:ext uri="{FF2B5EF4-FFF2-40B4-BE49-F238E27FC236}">
                    <a16:creationId xmlns:a16="http://schemas.microsoft.com/office/drawing/2014/main" id="{DB35A381-AE18-43BE-A680-D2E071507F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9" name="Untertitel 2">
            <a:extLst>
              <a:ext uri="{FF2B5EF4-FFF2-40B4-BE49-F238E27FC236}">
                <a16:creationId xmlns:a16="http://schemas.microsoft.com/office/drawing/2014/main" id="{7348B35B-FEE6-4F6B-A663-190AD0ABB14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733855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 Ups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>
            <a:extLst>
              <a:ext uri="{FF2B5EF4-FFF2-40B4-BE49-F238E27FC236}">
                <a16:creationId xmlns:a16="http://schemas.microsoft.com/office/drawing/2014/main" id="{C6045785-0D42-49CF-BB17-6F6A45D60050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70EB910-E9BB-4098-920D-18DAC1BCAF1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B72863D6-8D11-47FA-AB82-3F163FD9D43E}" type="datetime1">
              <a:rPr lang="de-DE" smtClean="0"/>
              <a:t>2022-01-1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F2F0E9D-60A9-4F53-BA09-C1D4CC7AA0F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AAA1933-32F6-413A-B222-EEFB93717F2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3" name="Grafik 12" descr="Ein Bild, das Screenshot, Laptop, Monitor, Computer enthält.&#10;&#10;Automatisch generierte Beschreibung">
            <a:extLst>
              <a:ext uri="{FF2B5EF4-FFF2-40B4-BE49-F238E27FC236}">
                <a16:creationId xmlns:a16="http://schemas.microsoft.com/office/drawing/2014/main" id="{274B7DAE-D42C-43A7-AB86-58AE8C71161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9256" t="17496" r="17397" b="11922"/>
          <a:stretch/>
        </p:blipFill>
        <p:spPr>
          <a:xfrm>
            <a:off x="603314" y="1544713"/>
            <a:ext cx="8079717" cy="5395499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4DE50EBE-0732-4A1B-8ED1-6A2DB92F9FD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2196" t="11127" r="28438"/>
          <a:stretch/>
        </p:blipFill>
        <p:spPr>
          <a:xfrm>
            <a:off x="5929809" y="2113191"/>
            <a:ext cx="5024002" cy="4827021"/>
          </a:xfrm>
          <a:prstGeom prst="rect">
            <a:avLst/>
          </a:prstGeom>
        </p:spPr>
      </p:pic>
      <p:sp>
        <p:nvSpPr>
          <p:cNvPr id="25" name="Bildplatzhalter 24">
            <a:extLst>
              <a:ext uri="{FF2B5EF4-FFF2-40B4-BE49-F238E27FC236}">
                <a16:creationId xmlns:a16="http://schemas.microsoft.com/office/drawing/2014/main" id="{BA7F5975-2F43-434A-A628-CA5A5F191F87}"/>
              </a:ext>
            </a:extLst>
          </p:cNvPr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107423" y="1868711"/>
            <a:ext cx="5489111" cy="3425829"/>
          </a:xfrm>
          <a:custGeom>
            <a:avLst/>
            <a:gdLst>
              <a:gd name="connsiteX0" fmla="*/ 0 w 5489111"/>
              <a:gd name="connsiteY0" fmla="*/ 0 h 3425829"/>
              <a:gd name="connsiteX1" fmla="*/ 5489111 w 5489111"/>
              <a:gd name="connsiteY1" fmla="*/ 0 h 3425829"/>
              <a:gd name="connsiteX2" fmla="*/ 5489111 w 5489111"/>
              <a:gd name="connsiteY2" fmla="*/ 2258813 h 3425829"/>
              <a:gd name="connsiteX3" fmla="*/ 4839123 w 5489111"/>
              <a:gd name="connsiteY3" fmla="*/ 2258788 h 3425829"/>
              <a:gd name="connsiteX4" fmla="*/ 4750322 w 5489111"/>
              <a:gd name="connsiteY4" fmla="*/ 2284867 h 3425829"/>
              <a:gd name="connsiteX5" fmla="*/ 4682035 w 5489111"/>
              <a:gd name="connsiteY5" fmla="*/ 2398573 h 3425829"/>
              <a:gd name="connsiteX6" fmla="*/ 4681617 w 5489111"/>
              <a:gd name="connsiteY6" fmla="*/ 2410092 h 3425829"/>
              <a:gd name="connsiteX7" fmla="*/ 4681599 w 5489111"/>
              <a:gd name="connsiteY7" fmla="*/ 2572763 h 3425829"/>
              <a:gd name="connsiteX8" fmla="*/ 4681599 w 5489111"/>
              <a:gd name="connsiteY8" fmla="*/ 2579897 h 3425829"/>
              <a:gd name="connsiteX9" fmla="*/ 4676100 w 5489111"/>
              <a:gd name="connsiteY9" fmla="*/ 2588768 h 3425829"/>
              <a:gd name="connsiteX10" fmla="*/ 4676142 w 5489111"/>
              <a:gd name="connsiteY10" fmla="*/ 2659787 h 3425829"/>
              <a:gd name="connsiteX11" fmla="*/ 4681095 w 5489111"/>
              <a:gd name="connsiteY11" fmla="*/ 2666770 h 3425829"/>
              <a:gd name="connsiteX12" fmla="*/ 4681095 w 5489111"/>
              <a:gd name="connsiteY12" fmla="*/ 2741680 h 3425829"/>
              <a:gd name="connsiteX13" fmla="*/ 4671996 w 5489111"/>
              <a:gd name="connsiteY13" fmla="*/ 2745494 h 3425829"/>
              <a:gd name="connsiteX14" fmla="*/ 4671996 w 5489111"/>
              <a:gd name="connsiteY14" fmla="*/ 2885114 h 3425829"/>
              <a:gd name="connsiteX15" fmla="*/ 4681174 w 5489111"/>
              <a:gd name="connsiteY15" fmla="*/ 2889262 h 3425829"/>
              <a:gd name="connsiteX16" fmla="*/ 4681174 w 5489111"/>
              <a:gd name="connsiteY16" fmla="*/ 2924571 h 3425829"/>
              <a:gd name="connsiteX17" fmla="*/ 4671996 w 5489111"/>
              <a:gd name="connsiteY17" fmla="*/ 2928815 h 3425829"/>
              <a:gd name="connsiteX18" fmla="*/ 4671996 w 5489111"/>
              <a:gd name="connsiteY18" fmla="*/ 3068437 h 3425829"/>
              <a:gd name="connsiteX19" fmla="*/ 4681599 w 5489111"/>
              <a:gd name="connsiteY19" fmla="*/ 3071891 h 3425829"/>
              <a:gd name="connsiteX20" fmla="*/ 4681599 w 5489111"/>
              <a:gd name="connsiteY20" fmla="*/ 3079742 h 3425829"/>
              <a:gd name="connsiteX21" fmla="*/ 4681532 w 5489111"/>
              <a:gd name="connsiteY21" fmla="*/ 3425829 h 3425829"/>
              <a:gd name="connsiteX22" fmla="*/ 0 w 5489111"/>
              <a:gd name="connsiteY22" fmla="*/ 3425829 h 3425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5489111" h="3425829">
                <a:moveTo>
                  <a:pt x="0" y="0"/>
                </a:moveTo>
                <a:lnTo>
                  <a:pt x="5489111" y="0"/>
                </a:lnTo>
                <a:lnTo>
                  <a:pt x="5489111" y="2258813"/>
                </a:lnTo>
                <a:lnTo>
                  <a:pt x="4839123" y="2258788"/>
                </a:lnTo>
                <a:cubicBezTo>
                  <a:pt x="4806911" y="2258782"/>
                  <a:pt x="4777017" y="2266657"/>
                  <a:pt x="4750322" y="2284867"/>
                </a:cubicBezTo>
                <a:cubicBezTo>
                  <a:pt x="4710224" y="2312222"/>
                  <a:pt x="4687553" y="2350312"/>
                  <a:pt x="4682035" y="2398573"/>
                </a:cubicBezTo>
                <a:cubicBezTo>
                  <a:pt x="4681605" y="2402380"/>
                  <a:pt x="4681617" y="2406254"/>
                  <a:pt x="4681617" y="2410092"/>
                </a:cubicBezTo>
                <a:cubicBezTo>
                  <a:pt x="4681592" y="2464315"/>
                  <a:pt x="4681599" y="2518539"/>
                  <a:pt x="4681599" y="2572763"/>
                </a:cubicBezTo>
                <a:cubicBezTo>
                  <a:pt x="4681599" y="2574979"/>
                  <a:pt x="4681599" y="2577201"/>
                  <a:pt x="4681599" y="2579897"/>
                </a:cubicBezTo>
                <a:cubicBezTo>
                  <a:pt x="4676639" y="2580856"/>
                  <a:pt x="4676063" y="2584293"/>
                  <a:pt x="4676100" y="2588768"/>
                </a:cubicBezTo>
                <a:cubicBezTo>
                  <a:pt x="4676299" y="2612437"/>
                  <a:pt x="4676245" y="2636112"/>
                  <a:pt x="4676142" y="2659787"/>
                </a:cubicBezTo>
                <a:cubicBezTo>
                  <a:pt x="4676123" y="2663448"/>
                  <a:pt x="4676767" y="2666223"/>
                  <a:pt x="4681095" y="2666770"/>
                </a:cubicBezTo>
                <a:cubicBezTo>
                  <a:pt x="4681095" y="2691993"/>
                  <a:pt x="4681095" y="2716992"/>
                  <a:pt x="4681095" y="2741680"/>
                </a:cubicBezTo>
                <a:cubicBezTo>
                  <a:pt x="4677805" y="2743059"/>
                  <a:pt x="4674904" y="2744274"/>
                  <a:pt x="4671996" y="2745494"/>
                </a:cubicBezTo>
                <a:cubicBezTo>
                  <a:pt x="4671996" y="2792037"/>
                  <a:pt x="4671996" y="2838573"/>
                  <a:pt x="4671996" y="2885114"/>
                </a:cubicBezTo>
                <a:cubicBezTo>
                  <a:pt x="4674843" y="2886402"/>
                  <a:pt x="4677690" y="2887696"/>
                  <a:pt x="4681174" y="2889262"/>
                </a:cubicBezTo>
                <a:cubicBezTo>
                  <a:pt x="4681174" y="2900684"/>
                  <a:pt x="4681174" y="2912821"/>
                  <a:pt x="4681174" y="2924571"/>
                </a:cubicBezTo>
                <a:cubicBezTo>
                  <a:pt x="4678000" y="2926041"/>
                  <a:pt x="4675000" y="2927425"/>
                  <a:pt x="4671996" y="2928815"/>
                </a:cubicBezTo>
                <a:cubicBezTo>
                  <a:pt x="4671996" y="2975358"/>
                  <a:pt x="4671996" y="3021894"/>
                  <a:pt x="4671996" y="3068437"/>
                </a:cubicBezTo>
                <a:cubicBezTo>
                  <a:pt x="4674946" y="3069499"/>
                  <a:pt x="4677902" y="3070562"/>
                  <a:pt x="4681599" y="3071891"/>
                </a:cubicBezTo>
                <a:cubicBezTo>
                  <a:pt x="4681599" y="3074150"/>
                  <a:pt x="4681599" y="3076950"/>
                  <a:pt x="4681599" y="3079742"/>
                </a:cubicBezTo>
                <a:lnTo>
                  <a:pt x="4681532" y="3425829"/>
                </a:lnTo>
                <a:lnTo>
                  <a:pt x="0" y="3425829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01B8DF7D-187D-4366-AAFF-1729A720A270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712602" y="2305552"/>
            <a:ext cx="2803684" cy="3736569"/>
          </a:xfrm>
          <a:custGeom>
            <a:avLst/>
            <a:gdLst>
              <a:gd name="connsiteX0" fmla="*/ 50578 w 2803684"/>
              <a:gd name="connsiteY0" fmla="*/ 0 h 3736569"/>
              <a:gd name="connsiteX1" fmla="*/ 2753106 w 2803684"/>
              <a:gd name="connsiteY1" fmla="*/ 0 h 3736569"/>
              <a:gd name="connsiteX2" fmla="*/ 2803684 w 2803684"/>
              <a:gd name="connsiteY2" fmla="*/ 50578 h 3736569"/>
              <a:gd name="connsiteX3" fmla="*/ 2803684 w 2803684"/>
              <a:gd name="connsiteY3" fmla="*/ 3685991 h 3736569"/>
              <a:gd name="connsiteX4" fmla="*/ 2753106 w 2803684"/>
              <a:gd name="connsiteY4" fmla="*/ 3736569 h 3736569"/>
              <a:gd name="connsiteX5" fmla="*/ 162509 w 2803684"/>
              <a:gd name="connsiteY5" fmla="*/ 3736569 h 3736569"/>
              <a:gd name="connsiteX6" fmla="*/ 162509 w 2803684"/>
              <a:gd name="connsiteY6" fmla="*/ 2607094 h 3736569"/>
              <a:gd name="connsiteX7" fmla="*/ 162509 w 2803684"/>
              <a:gd name="connsiteY7" fmla="*/ 2598290 h 3736569"/>
              <a:gd name="connsiteX8" fmla="*/ 163607 w 2803684"/>
              <a:gd name="connsiteY8" fmla="*/ 2597173 h 3736569"/>
              <a:gd name="connsiteX9" fmla="*/ 170921 w 2803684"/>
              <a:gd name="connsiteY9" fmla="*/ 2588040 h 3736569"/>
              <a:gd name="connsiteX10" fmla="*/ 170921 w 2803684"/>
              <a:gd name="connsiteY10" fmla="*/ 2317324 h 3736569"/>
              <a:gd name="connsiteX11" fmla="*/ 162502 w 2803684"/>
              <a:gd name="connsiteY11" fmla="*/ 2307008 h 3736569"/>
              <a:gd name="connsiteX12" fmla="*/ 162502 w 2803684"/>
              <a:gd name="connsiteY12" fmla="*/ 2299369 h 3736569"/>
              <a:gd name="connsiteX13" fmla="*/ 162435 w 2803684"/>
              <a:gd name="connsiteY13" fmla="*/ 1976451 h 3736569"/>
              <a:gd name="connsiteX14" fmla="*/ 116232 w 2803684"/>
              <a:gd name="connsiteY14" fmla="*/ 1866480 h 3736569"/>
              <a:gd name="connsiteX15" fmla="*/ 10999 w 2803684"/>
              <a:gd name="connsiteY15" fmla="*/ 1822020 h 3736569"/>
              <a:gd name="connsiteX16" fmla="*/ 4935 w 2803684"/>
              <a:gd name="connsiteY16" fmla="*/ 1821977 h 3736569"/>
              <a:gd name="connsiteX17" fmla="*/ 0 w 2803684"/>
              <a:gd name="connsiteY17" fmla="*/ 1821977 h 3736569"/>
              <a:gd name="connsiteX18" fmla="*/ 0 w 2803684"/>
              <a:gd name="connsiteY18" fmla="*/ 50578 h 3736569"/>
              <a:gd name="connsiteX19" fmla="*/ 50578 w 2803684"/>
              <a:gd name="connsiteY19" fmla="*/ 0 h 37365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2803684" h="3736569">
                <a:moveTo>
                  <a:pt x="50578" y="0"/>
                </a:moveTo>
                <a:lnTo>
                  <a:pt x="2753106" y="0"/>
                </a:lnTo>
                <a:cubicBezTo>
                  <a:pt x="2781039" y="0"/>
                  <a:pt x="2803684" y="22645"/>
                  <a:pt x="2803684" y="50578"/>
                </a:cubicBezTo>
                <a:lnTo>
                  <a:pt x="2803684" y="3685991"/>
                </a:lnTo>
                <a:cubicBezTo>
                  <a:pt x="2803684" y="3713924"/>
                  <a:pt x="2781039" y="3736569"/>
                  <a:pt x="2753106" y="3736569"/>
                </a:cubicBezTo>
                <a:lnTo>
                  <a:pt x="162509" y="3736569"/>
                </a:lnTo>
                <a:lnTo>
                  <a:pt x="162509" y="2607094"/>
                </a:lnTo>
                <a:cubicBezTo>
                  <a:pt x="162509" y="2604064"/>
                  <a:pt x="162509" y="2601040"/>
                  <a:pt x="162509" y="2598290"/>
                </a:cubicBezTo>
                <a:cubicBezTo>
                  <a:pt x="163048" y="2597719"/>
                  <a:pt x="163279" y="2597252"/>
                  <a:pt x="163607" y="2597173"/>
                </a:cubicBezTo>
                <a:cubicBezTo>
                  <a:pt x="170903" y="2595448"/>
                  <a:pt x="170921" y="2595460"/>
                  <a:pt x="170921" y="2588040"/>
                </a:cubicBezTo>
                <a:cubicBezTo>
                  <a:pt x="170927" y="2497804"/>
                  <a:pt x="170921" y="2407560"/>
                  <a:pt x="170921" y="2317324"/>
                </a:cubicBezTo>
                <a:cubicBezTo>
                  <a:pt x="170921" y="2309230"/>
                  <a:pt x="170909" y="2309230"/>
                  <a:pt x="162502" y="2307008"/>
                </a:cubicBezTo>
                <a:cubicBezTo>
                  <a:pt x="162502" y="2304560"/>
                  <a:pt x="162502" y="2301961"/>
                  <a:pt x="162502" y="2299369"/>
                </a:cubicBezTo>
                <a:cubicBezTo>
                  <a:pt x="162496" y="2191729"/>
                  <a:pt x="162624" y="2084090"/>
                  <a:pt x="162435" y="1976451"/>
                </a:cubicBezTo>
                <a:cubicBezTo>
                  <a:pt x="162363" y="1933485"/>
                  <a:pt x="146733" y="1896621"/>
                  <a:pt x="116232" y="1866480"/>
                </a:cubicBezTo>
                <a:cubicBezTo>
                  <a:pt x="87181" y="1837771"/>
                  <a:pt x="51752" y="1823380"/>
                  <a:pt x="10999" y="1822020"/>
                </a:cubicBezTo>
                <a:cubicBezTo>
                  <a:pt x="8978" y="1821953"/>
                  <a:pt x="6957" y="1821977"/>
                  <a:pt x="4935" y="1821977"/>
                </a:cubicBezTo>
                <a:lnTo>
                  <a:pt x="0" y="1821977"/>
                </a:lnTo>
                <a:lnTo>
                  <a:pt x="0" y="50578"/>
                </a:lnTo>
                <a:cubicBezTo>
                  <a:pt x="0" y="22645"/>
                  <a:pt x="22645" y="0"/>
                  <a:pt x="50578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pic>
        <p:nvPicPr>
          <p:cNvPr id="20" name="Grafik 19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7520ED33-6FFC-499F-AF20-DFC3D141147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21937" y="4121602"/>
            <a:ext cx="1750019" cy="2711314"/>
          </a:xfrm>
          <a:prstGeom prst="rect">
            <a:avLst/>
          </a:prstGeom>
        </p:spPr>
      </p:pic>
      <p:sp>
        <p:nvSpPr>
          <p:cNvPr id="26" name="Bildplatzhalter 47">
            <a:extLst>
              <a:ext uri="{FF2B5EF4-FFF2-40B4-BE49-F238E27FC236}">
                <a16:creationId xmlns:a16="http://schemas.microsoft.com/office/drawing/2014/main" id="{E0128E7F-A8D7-4916-93FD-7AB5101C9FD0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6849328" y="4185544"/>
            <a:ext cx="966123" cy="2086238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 sz="1000"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15" name="Untertitel 2">
            <a:extLst>
              <a:ext uri="{FF2B5EF4-FFF2-40B4-BE49-F238E27FC236}">
                <a16:creationId xmlns:a16="http://schemas.microsoft.com/office/drawing/2014/main" id="{C5836239-1D04-44A3-AAA9-917A73B2CEF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4233096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lde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496294BF-D3D0-4802-AC90-6B34E21A471A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2C40E76C-945F-4CFF-AF64-9F4AFBE031EE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DC92EF49-6770-4821-85BD-6B58BC2A37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F36EF048-6182-46E6-8FD1-9B53FFDF399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D131AAE3-7275-45DF-A769-EAF56E6801CA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5E1A07C7-D4A9-4D9C-BF1E-2F347913A4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8">
                <a:extLst>
                  <a:ext uri="{FF2B5EF4-FFF2-40B4-BE49-F238E27FC236}">
                    <a16:creationId xmlns:a16="http://schemas.microsoft.com/office/drawing/2014/main" id="{5FE140FB-ECB4-439D-BF7A-348D7592C41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9">
                <a:extLst>
                  <a:ext uri="{FF2B5EF4-FFF2-40B4-BE49-F238E27FC236}">
                    <a16:creationId xmlns:a16="http://schemas.microsoft.com/office/drawing/2014/main" id="{4AD64196-CF34-4AD0-A16E-5539B10016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0">
                <a:extLst>
                  <a:ext uri="{FF2B5EF4-FFF2-40B4-BE49-F238E27FC236}">
                    <a16:creationId xmlns:a16="http://schemas.microsoft.com/office/drawing/2014/main" id="{F414E838-E68E-4F8F-9508-065C7A4E81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1">
                <a:extLst>
                  <a:ext uri="{FF2B5EF4-FFF2-40B4-BE49-F238E27FC236}">
                    <a16:creationId xmlns:a16="http://schemas.microsoft.com/office/drawing/2014/main" id="{50B37B52-58A7-4290-B58A-6D0AD767A2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9" name="Freeform 12">
                <a:extLst>
                  <a:ext uri="{FF2B5EF4-FFF2-40B4-BE49-F238E27FC236}">
                    <a16:creationId xmlns:a16="http://schemas.microsoft.com/office/drawing/2014/main" id="{09B8253D-2FF1-4631-B01A-1BB370558AE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3">
                <a:extLst>
                  <a:ext uri="{FF2B5EF4-FFF2-40B4-BE49-F238E27FC236}">
                    <a16:creationId xmlns:a16="http://schemas.microsoft.com/office/drawing/2014/main" id="{A56A50CE-D116-4E3D-9F9C-6B4A7A9BD1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4">
                <a:extLst>
                  <a:ext uri="{FF2B5EF4-FFF2-40B4-BE49-F238E27FC236}">
                    <a16:creationId xmlns:a16="http://schemas.microsoft.com/office/drawing/2014/main" id="{1E1E3BA3-3D65-4AEE-89A2-7A24EE545D5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5">
                <a:extLst>
                  <a:ext uri="{FF2B5EF4-FFF2-40B4-BE49-F238E27FC236}">
                    <a16:creationId xmlns:a16="http://schemas.microsoft.com/office/drawing/2014/main" id="{CEBC7267-459F-46CB-9686-DC9EC33EA1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6">
                <a:extLst>
                  <a:ext uri="{FF2B5EF4-FFF2-40B4-BE49-F238E27FC236}">
                    <a16:creationId xmlns:a16="http://schemas.microsoft.com/office/drawing/2014/main" id="{FB993FA4-CFC5-4837-A96F-50FD90CAC3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487488" y="1592263"/>
            <a:ext cx="3821114" cy="2960687"/>
          </a:xfrm>
          <a:prstGeom prst="round2SameRect">
            <a:avLst>
              <a:gd name="adj1" fmla="val 10554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1" name="Bildplatzhalter 40">
            <a:extLst>
              <a:ext uri="{FF2B5EF4-FFF2-40B4-BE49-F238E27FC236}">
                <a16:creationId xmlns:a16="http://schemas.microsoft.com/office/drawing/2014/main" id="{1E250036-7D62-4114-A92A-3112FF8860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6883399" y="1592263"/>
            <a:ext cx="3821114" cy="2960687"/>
          </a:xfrm>
          <a:prstGeom prst="round2SameRect">
            <a:avLst>
              <a:gd name="adj1" fmla="val 10554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9AEC450-8DAE-4E70-AD4D-356D0443C963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 algn="r"/>
            <a:fld id="{94C22395-DAB0-4443-9405-4FC4123D1D98}" type="datetime1">
              <a:rPr lang="de-DE" smtClean="0"/>
              <a:t>2022-01-1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E236985-8E22-4FFB-AFEF-C6A5AC20472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72AF24B-2DDF-4827-A36F-31975804BAE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7" name="Textplatzhalter 5">
            <a:extLst>
              <a:ext uri="{FF2B5EF4-FFF2-40B4-BE49-F238E27FC236}">
                <a16:creationId xmlns:a16="http://schemas.microsoft.com/office/drawing/2014/main" id="{847B9E13-3744-40A3-A85C-84015DF9DFA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487488" y="4853031"/>
            <a:ext cx="3821114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1</a:t>
            </a:r>
          </a:p>
        </p:txBody>
      </p:sp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AE328B77-E9BB-42BD-AEA3-064C0C6E30D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883399" y="4853031"/>
            <a:ext cx="3821114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2</a:t>
            </a:r>
          </a:p>
        </p:txBody>
      </p:sp>
      <p:sp>
        <p:nvSpPr>
          <p:cNvPr id="14" name="Textplatzhalter 28">
            <a:extLst>
              <a:ext uri="{FF2B5EF4-FFF2-40B4-BE49-F238E27FC236}">
                <a16:creationId xmlns:a16="http://schemas.microsoft.com/office/drawing/2014/main" id="{6B8CED60-7D19-4349-BF76-DCB0CAE8F172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1487488" y="5265736"/>
            <a:ext cx="3821114" cy="10080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platzhalter 28">
            <a:extLst>
              <a:ext uri="{FF2B5EF4-FFF2-40B4-BE49-F238E27FC236}">
                <a16:creationId xmlns:a16="http://schemas.microsoft.com/office/drawing/2014/main" id="{B349CDDB-B0BE-4223-93D7-5E44317803C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883399" y="5265736"/>
            <a:ext cx="3821114" cy="10080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4" name="Untertitel 2">
            <a:extLst>
              <a:ext uri="{FF2B5EF4-FFF2-40B4-BE49-F238E27FC236}">
                <a16:creationId xmlns:a16="http://schemas.microsoft.com/office/drawing/2014/main" id="{976231A2-CE65-496D-8AEA-F275735E3CA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180227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BAD125F8-A201-4843-B9C3-EE473EBCF28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191995 w 12192000"/>
              <a:gd name="connsiteY3" fmla="*/ 6858000 h 6858000"/>
              <a:gd name="connsiteX4" fmla="*/ 12191995 w 12192000"/>
              <a:gd name="connsiteY4" fmla="*/ 6248399 h 6858000"/>
              <a:gd name="connsiteX5" fmla="*/ 1319758 w 12192000"/>
              <a:gd name="connsiteY5" fmla="*/ 6248399 h 6858000"/>
              <a:gd name="connsiteX6" fmla="*/ 418902 w 12192000"/>
              <a:gd name="connsiteY6" fmla="*/ 6727381 h 6858000"/>
              <a:gd name="connsiteX7" fmla="*/ 348004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91995" y="6858000"/>
                </a:lnTo>
                <a:lnTo>
                  <a:pt x="12191995" y="6248399"/>
                </a:lnTo>
                <a:lnTo>
                  <a:pt x="1319758" y="6248399"/>
                </a:lnTo>
                <a:cubicBezTo>
                  <a:pt x="944758" y="6248399"/>
                  <a:pt x="614135" y="6438398"/>
                  <a:pt x="418902" y="6727381"/>
                </a:cubicBezTo>
                <a:lnTo>
                  <a:pt x="34800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2" cy="367347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0" name="Untertitel 2">
            <a:extLst>
              <a:ext uri="{FF2B5EF4-FFF2-40B4-BE49-F238E27FC236}">
                <a16:creationId xmlns:a16="http://schemas.microsoft.com/office/drawing/2014/main" id="{824B22F2-4CA8-4D6F-A1C0-EA80845E57F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130E97F4-C217-4BA2-8F72-C0A2F1385488}"/>
              </a:ext>
            </a:extLst>
          </p:cNvPr>
          <p:cNvSpPr/>
          <p:nvPr/>
        </p:nvSpPr>
        <p:spPr>
          <a:xfrm flipH="1">
            <a:off x="544131" y="6112552"/>
            <a:ext cx="11658443" cy="756028"/>
          </a:xfrm>
          <a:custGeom>
            <a:avLst/>
            <a:gdLst>
              <a:gd name="connsiteX0" fmla="*/ 10720524 w 11658443"/>
              <a:gd name="connsiteY0" fmla="*/ 0 h 756028"/>
              <a:gd name="connsiteX1" fmla="*/ 0 w 11658443"/>
              <a:gd name="connsiteY1" fmla="*/ 0 h 756028"/>
              <a:gd name="connsiteX2" fmla="*/ 0 w 11658443"/>
              <a:gd name="connsiteY2" fmla="*/ 756028 h 756028"/>
              <a:gd name="connsiteX3" fmla="*/ 11658443 w 11658443"/>
              <a:gd name="connsiteY3" fmla="*/ 756028 h 756028"/>
              <a:gd name="connsiteX4" fmla="*/ 11605940 w 11658443"/>
              <a:gd name="connsiteY4" fmla="*/ 586893 h 756028"/>
              <a:gd name="connsiteX5" fmla="*/ 10720524 w 11658443"/>
              <a:gd name="connsiteY5" fmla="*/ 0 h 756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658443" h="756028">
                <a:moveTo>
                  <a:pt x="10720524" y="0"/>
                </a:moveTo>
                <a:lnTo>
                  <a:pt x="0" y="0"/>
                </a:lnTo>
                <a:lnTo>
                  <a:pt x="0" y="756028"/>
                </a:lnTo>
                <a:lnTo>
                  <a:pt x="11658443" y="756028"/>
                </a:lnTo>
                <a:lnTo>
                  <a:pt x="11605940" y="586893"/>
                </a:lnTo>
                <a:cubicBezTo>
                  <a:pt x="11460063" y="242001"/>
                  <a:pt x="11118555" y="0"/>
                  <a:pt x="10720524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1C8B4150-817E-4B8E-916F-E8B46846C44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5999" y="1592263"/>
            <a:ext cx="4608512" cy="367347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C16F1EDE-07DF-43AB-8A65-661E3310C7DD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6" cy="635012"/>
          </a:xfrm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E1693C54-214A-467B-94D9-3C6EEBB7A9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60FD036F-A46D-4314-8131-39D809908F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4D8268D6-65FC-417B-BB85-D567682934A8}"/>
                </a:ext>
              </a:extLst>
            </p:cNvPr>
            <p:cNvGrpSpPr/>
            <p:nvPr/>
          </p:nvGrpSpPr>
          <p:grpSpPr>
            <a:xfrm>
              <a:off x="1311217" y="1530579"/>
              <a:ext cx="1533582" cy="307590"/>
              <a:chOff x="3987943" y="2307132"/>
              <a:chExt cx="2607166" cy="522910"/>
            </a:xfrm>
          </p:grpSpPr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4172BB35-8858-49CD-96AE-FDCEE59F22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8">
                <a:extLst>
                  <a:ext uri="{FF2B5EF4-FFF2-40B4-BE49-F238E27FC236}">
                    <a16:creationId xmlns:a16="http://schemas.microsoft.com/office/drawing/2014/main" id="{F340F6B4-1EFA-483F-B118-558F6661B57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9">
                <a:extLst>
                  <a:ext uri="{FF2B5EF4-FFF2-40B4-BE49-F238E27FC236}">
                    <a16:creationId xmlns:a16="http://schemas.microsoft.com/office/drawing/2014/main" id="{67E7091C-7DB4-4F54-8BD2-10E16CA708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0">
                <a:extLst>
                  <a:ext uri="{FF2B5EF4-FFF2-40B4-BE49-F238E27FC236}">
                    <a16:creationId xmlns:a16="http://schemas.microsoft.com/office/drawing/2014/main" id="{4AC1E5B1-8B93-4B6A-9CE2-8CE4650B3F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1">
                <a:extLst>
                  <a:ext uri="{FF2B5EF4-FFF2-40B4-BE49-F238E27FC236}">
                    <a16:creationId xmlns:a16="http://schemas.microsoft.com/office/drawing/2014/main" id="{B1F3E871-E4D3-47AC-AB4F-2FD7CE3DC8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9" name="Freeform 12">
                <a:extLst>
                  <a:ext uri="{FF2B5EF4-FFF2-40B4-BE49-F238E27FC236}">
                    <a16:creationId xmlns:a16="http://schemas.microsoft.com/office/drawing/2014/main" id="{CCC5F6CC-254D-4796-85D0-A82C55A1BF6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3">
                <a:extLst>
                  <a:ext uri="{FF2B5EF4-FFF2-40B4-BE49-F238E27FC236}">
                    <a16:creationId xmlns:a16="http://schemas.microsoft.com/office/drawing/2014/main" id="{D01066B0-8E74-4F18-86ED-E60684F2B0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4">
                <a:extLst>
                  <a:ext uri="{FF2B5EF4-FFF2-40B4-BE49-F238E27FC236}">
                    <a16:creationId xmlns:a16="http://schemas.microsoft.com/office/drawing/2014/main" id="{EC483BAE-FA8E-412F-B79A-2DCC30C26BD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5">
                <a:extLst>
                  <a:ext uri="{FF2B5EF4-FFF2-40B4-BE49-F238E27FC236}">
                    <a16:creationId xmlns:a16="http://schemas.microsoft.com/office/drawing/2014/main" id="{EE2F4D82-F828-4479-AF1C-2DCE4FC556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6">
                <a:extLst>
                  <a:ext uri="{FF2B5EF4-FFF2-40B4-BE49-F238E27FC236}">
                    <a16:creationId xmlns:a16="http://schemas.microsoft.com/office/drawing/2014/main" id="{8A1DBB14-E57E-4B1F-A22A-35FA040005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D5F6429-6903-4DFA-8711-34C3DBEF5FF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B9600BD3-3344-4595-AE70-B7FDC0D0FE88}" type="datetime1">
              <a:rPr lang="de-DE" smtClean="0"/>
              <a:t>2022-01-1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C01C9B1-F32F-4DD5-92C2-59AA306A341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5DA77D9-60AF-4B23-A340-0E478ACD3C0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82144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lde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FD7AA177-9107-4D8D-9F97-1CDC2E86A4A7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2B4F717E-0C12-479E-8553-1DE225BA4CE3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7" name="Oval 5">
              <a:extLst>
                <a:ext uri="{FF2B5EF4-FFF2-40B4-BE49-F238E27FC236}">
                  <a16:creationId xmlns:a16="http://schemas.microsoft.com/office/drawing/2014/main" id="{F5645894-B5F9-45B1-A40B-B3AD39B1C7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8" name="Freeform 6">
              <a:extLst>
                <a:ext uri="{FF2B5EF4-FFF2-40B4-BE49-F238E27FC236}">
                  <a16:creationId xmlns:a16="http://schemas.microsoft.com/office/drawing/2014/main" id="{C8E2313B-3F49-4183-945F-97BA2EC06B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9" name="Gruppieren 28">
              <a:extLst>
                <a:ext uri="{FF2B5EF4-FFF2-40B4-BE49-F238E27FC236}">
                  <a16:creationId xmlns:a16="http://schemas.microsoft.com/office/drawing/2014/main" id="{3B6A391F-4FE1-47A0-B9BE-2920F1ED3D1C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30" name="Freeform 7">
                <a:extLst>
                  <a:ext uri="{FF2B5EF4-FFF2-40B4-BE49-F238E27FC236}">
                    <a16:creationId xmlns:a16="http://schemas.microsoft.com/office/drawing/2014/main" id="{26127AE2-ABCB-4715-985A-7CA177F904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8">
                <a:extLst>
                  <a:ext uri="{FF2B5EF4-FFF2-40B4-BE49-F238E27FC236}">
                    <a16:creationId xmlns:a16="http://schemas.microsoft.com/office/drawing/2014/main" id="{47B751FB-ED4E-40F8-B3E1-8245EB4CB92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9">
                <a:extLst>
                  <a:ext uri="{FF2B5EF4-FFF2-40B4-BE49-F238E27FC236}">
                    <a16:creationId xmlns:a16="http://schemas.microsoft.com/office/drawing/2014/main" id="{202E4F70-0E90-4670-9460-1C780E817E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0">
                <a:extLst>
                  <a:ext uri="{FF2B5EF4-FFF2-40B4-BE49-F238E27FC236}">
                    <a16:creationId xmlns:a16="http://schemas.microsoft.com/office/drawing/2014/main" id="{E5FDADB1-A503-4639-9E3B-1381DFE4D7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1">
                <a:extLst>
                  <a:ext uri="{FF2B5EF4-FFF2-40B4-BE49-F238E27FC236}">
                    <a16:creationId xmlns:a16="http://schemas.microsoft.com/office/drawing/2014/main" id="{33443494-539D-49EE-9E6B-5E23AD7F81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12">
                <a:extLst>
                  <a:ext uri="{FF2B5EF4-FFF2-40B4-BE49-F238E27FC236}">
                    <a16:creationId xmlns:a16="http://schemas.microsoft.com/office/drawing/2014/main" id="{30065938-87C5-41B9-BA6F-8CFD0951766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3">
                <a:extLst>
                  <a:ext uri="{FF2B5EF4-FFF2-40B4-BE49-F238E27FC236}">
                    <a16:creationId xmlns:a16="http://schemas.microsoft.com/office/drawing/2014/main" id="{FC291407-C501-454B-A8EE-7CAC0EBF29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4">
                <a:extLst>
                  <a:ext uri="{FF2B5EF4-FFF2-40B4-BE49-F238E27FC236}">
                    <a16:creationId xmlns:a16="http://schemas.microsoft.com/office/drawing/2014/main" id="{95E6D4F2-3255-40E5-A13F-91246F7BCE2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5">
                <a:extLst>
                  <a:ext uri="{FF2B5EF4-FFF2-40B4-BE49-F238E27FC236}">
                    <a16:creationId xmlns:a16="http://schemas.microsoft.com/office/drawing/2014/main" id="{444BCF27-B343-42A9-9DCA-E33BAC3C23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6">
                <a:extLst>
                  <a:ext uri="{FF2B5EF4-FFF2-40B4-BE49-F238E27FC236}">
                    <a16:creationId xmlns:a16="http://schemas.microsoft.com/office/drawing/2014/main" id="{3CC4F76B-36A1-4B25-9B0A-2D354D2305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762000" y="1592263"/>
            <a:ext cx="3025775" cy="2960687"/>
          </a:xfrm>
          <a:custGeom>
            <a:avLst/>
            <a:gdLst>
              <a:gd name="connsiteX0" fmla="*/ 309333 w 3025775"/>
              <a:gd name="connsiteY0" fmla="*/ 0 h 2960687"/>
              <a:gd name="connsiteX1" fmla="*/ 2716442 w 3025775"/>
              <a:gd name="connsiteY1" fmla="*/ 0 h 2960687"/>
              <a:gd name="connsiteX2" fmla="*/ 3025775 w 3025775"/>
              <a:gd name="connsiteY2" fmla="*/ 309333 h 2960687"/>
              <a:gd name="connsiteX3" fmla="*/ 3025775 w 3025775"/>
              <a:gd name="connsiteY3" fmla="*/ 2960687 h 2960687"/>
              <a:gd name="connsiteX4" fmla="*/ 0 w 3025775"/>
              <a:gd name="connsiteY4" fmla="*/ 2960687 h 2960687"/>
              <a:gd name="connsiteX5" fmla="*/ 0 w 3025775"/>
              <a:gd name="connsiteY5" fmla="*/ 309333 h 2960687"/>
              <a:gd name="connsiteX6" fmla="*/ 309333 w 3025775"/>
              <a:gd name="connsiteY6" fmla="*/ 0 h 2960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25775" h="2960687">
                <a:moveTo>
                  <a:pt x="309333" y="0"/>
                </a:moveTo>
                <a:lnTo>
                  <a:pt x="2716442" y="0"/>
                </a:lnTo>
                <a:cubicBezTo>
                  <a:pt x="2887282" y="0"/>
                  <a:pt x="3025775" y="138493"/>
                  <a:pt x="3025775" y="309333"/>
                </a:cubicBezTo>
                <a:lnTo>
                  <a:pt x="3025775" y="2960687"/>
                </a:lnTo>
                <a:lnTo>
                  <a:pt x="0" y="2960687"/>
                </a:lnTo>
                <a:lnTo>
                  <a:pt x="0" y="309333"/>
                </a:lnTo>
                <a:cubicBezTo>
                  <a:pt x="0" y="138493"/>
                  <a:pt x="138493" y="0"/>
                  <a:pt x="309333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F93A7B41-6D62-4864-8FFA-1765074A406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4583112" y="1592263"/>
            <a:ext cx="3025775" cy="2960687"/>
          </a:xfrm>
          <a:custGeom>
            <a:avLst/>
            <a:gdLst>
              <a:gd name="connsiteX0" fmla="*/ 309333 w 3025775"/>
              <a:gd name="connsiteY0" fmla="*/ 0 h 2960687"/>
              <a:gd name="connsiteX1" fmla="*/ 2716442 w 3025775"/>
              <a:gd name="connsiteY1" fmla="*/ 0 h 2960687"/>
              <a:gd name="connsiteX2" fmla="*/ 3025775 w 3025775"/>
              <a:gd name="connsiteY2" fmla="*/ 309333 h 2960687"/>
              <a:gd name="connsiteX3" fmla="*/ 3025775 w 3025775"/>
              <a:gd name="connsiteY3" fmla="*/ 2960687 h 2960687"/>
              <a:gd name="connsiteX4" fmla="*/ 0 w 3025775"/>
              <a:gd name="connsiteY4" fmla="*/ 2960687 h 2960687"/>
              <a:gd name="connsiteX5" fmla="*/ 0 w 3025775"/>
              <a:gd name="connsiteY5" fmla="*/ 309333 h 2960687"/>
              <a:gd name="connsiteX6" fmla="*/ 309333 w 3025775"/>
              <a:gd name="connsiteY6" fmla="*/ 0 h 2960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25775" h="2960687">
                <a:moveTo>
                  <a:pt x="309333" y="0"/>
                </a:moveTo>
                <a:lnTo>
                  <a:pt x="2716442" y="0"/>
                </a:lnTo>
                <a:cubicBezTo>
                  <a:pt x="2887282" y="0"/>
                  <a:pt x="3025775" y="138493"/>
                  <a:pt x="3025775" y="309333"/>
                </a:cubicBezTo>
                <a:lnTo>
                  <a:pt x="3025775" y="2960687"/>
                </a:lnTo>
                <a:lnTo>
                  <a:pt x="0" y="2960687"/>
                </a:lnTo>
                <a:lnTo>
                  <a:pt x="0" y="309333"/>
                </a:lnTo>
                <a:cubicBezTo>
                  <a:pt x="0" y="138493"/>
                  <a:pt x="138493" y="0"/>
                  <a:pt x="309333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2" name="Bildplatzhalter 21">
            <a:extLst>
              <a:ext uri="{FF2B5EF4-FFF2-40B4-BE49-F238E27FC236}">
                <a16:creationId xmlns:a16="http://schemas.microsoft.com/office/drawing/2014/main" id="{F8EA52FF-4D6F-4786-948F-F5BBA46C445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8401050" y="1592263"/>
            <a:ext cx="3025775" cy="2960687"/>
          </a:xfrm>
          <a:custGeom>
            <a:avLst/>
            <a:gdLst>
              <a:gd name="connsiteX0" fmla="*/ 309333 w 3025775"/>
              <a:gd name="connsiteY0" fmla="*/ 0 h 2960687"/>
              <a:gd name="connsiteX1" fmla="*/ 2716442 w 3025775"/>
              <a:gd name="connsiteY1" fmla="*/ 0 h 2960687"/>
              <a:gd name="connsiteX2" fmla="*/ 3025775 w 3025775"/>
              <a:gd name="connsiteY2" fmla="*/ 309333 h 2960687"/>
              <a:gd name="connsiteX3" fmla="*/ 3025775 w 3025775"/>
              <a:gd name="connsiteY3" fmla="*/ 2960687 h 2960687"/>
              <a:gd name="connsiteX4" fmla="*/ 0 w 3025775"/>
              <a:gd name="connsiteY4" fmla="*/ 2960687 h 2960687"/>
              <a:gd name="connsiteX5" fmla="*/ 0 w 3025775"/>
              <a:gd name="connsiteY5" fmla="*/ 309333 h 2960687"/>
              <a:gd name="connsiteX6" fmla="*/ 309333 w 3025775"/>
              <a:gd name="connsiteY6" fmla="*/ 0 h 2960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25775" h="2960687">
                <a:moveTo>
                  <a:pt x="309333" y="0"/>
                </a:moveTo>
                <a:lnTo>
                  <a:pt x="2716442" y="0"/>
                </a:lnTo>
                <a:cubicBezTo>
                  <a:pt x="2887282" y="0"/>
                  <a:pt x="3025775" y="138493"/>
                  <a:pt x="3025775" y="309333"/>
                </a:cubicBezTo>
                <a:lnTo>
                  <a:pt x="3025775" y="2960687"/>
                </a:lnTo>
                <a:lnTo>
                  <a:pt x="0" y="2960687"/>
                </a:lnTo>
                <a:lnTo>
                  <a:pt x="0" y="309333"/>
                </a:lnTo>
                <a:cubicBezTo>
                  <a:pt x="0" y="138493"/>
                  <a:pt x="138493" y="0"/>
                  <a:pt x="309333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25FF0B9-EDF2-4882-8704-4545C832A928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 algn="r"/>
            <a:fld id="{9E1AB596-A176-45DB-A6D5-8FF19A985E2F}" type="datetime1">
              <a:rPr lang="de-DE" smtClean="0"/>
              <a:t>2022-01-1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C8D8104-D8B2-4D95-A5F6-12F39DCDEF9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29D6E93-7F18-4FF1-9F28-312A4EDB5789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BFF5B44-121A-4367-B6E2-03918ADA9A5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62000" y="4853032"/>
            <a:ext cx="302577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16" name="Textplatzhalter 8">
            <a:extLst>
              <a:ext uri="{FF2B5EF4-FFF2-40B4-BE49-F238E27FC236}">
                <a16:creationId xmlns:a16="http://schemas.microsoft.com/office/drawing/2014/main" id="{00AAE0B7-896C-497B-B63C-A6AFD3696A2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583112" y="4853032"/>
            <a:ext cx="302577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17" name="Textplatzhalter 8">
            <a:extLst>
              <a:ext uri="{FF2B5EF4-FFF2-40B4-BE49-F238E27FC236}">
                <a16:creationId xmlns:a16="http://schemas.microsoft.com/office/drawing/2014/main" id="{FFA68F9C-9D74-44BD-A0C6-ABA5E620C98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01050" y="4853032"/>
            <a:ext cx="302577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18" name="Textplatzhalter 28">
            <a:extLst>
              <a:ext uri="{FF2B5EF4-FFF2-40B4-BE49-F238E27FC236}">
                <a16:creationId xmlns:a16="http://schemas.microsoft.com/office/drawing/2014/main" id="{3D06BD6F-9548-4E4A-9622-73B7940AF3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62000" y="5265738"/>
            <a:ext cx="302577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Textplatzhalter 28">
            <a:extLst>
              <a:ext uri="{FF2B5EF4-FFF2-40B4-BE49-F238E27FC236}">
                <a16:creationId xmlns:a16="http://schemas.microsoft.com/office/drawing/2014/main" id="{92F70558-BDEB-4EDA-96DC-F9F377A901CF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583112" y="5265738"/>
            <a:ext cx="302577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Textplatzhalter 28">
            <a:extLst>
              <a:ext uri="{FF2B5EF4-FFF2-40B4-BE49-F238E27FC236}">
                <a16:creationId xmlns:a16="http://schemas.microsoft.com/office/drawing/2014/main" id="{A4EEBFB5-31AF-44B0-B449-C6569322919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401050" y="5265738"/>
            <a:ext cx="302577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0" name="Untertitel 2">
            <a:extLst>
              <a:ext uri="{FF2B5EF4-FFF2-40B4-BE49-F238E27FC236}">
                <a16:creationId xmlns:a16="http://schemas.microsoft.com/office/drawing/2014/main" id="{4F9DBBC9-FA8B-496C-8FE5-C495B75580C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965345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ilde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7E8CB8E4-FB84-4648-8735-CB7CC4E6C6DE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FABE9D84-609D-4A0B-9FE3-6E2E3C22590F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7" name="Oval 5">
              <a:extLst>
                <a:ext uri="{FF2B5EF4-FFF2-40B4-BE49-F238E27FC236}">
                  <a16:creationId xmlns:a16="http://schemas.microsoft.com/office/drawing/2014/main" id="{8AB12F9D-2FCF-463F-8048-C6B1518CAC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8" name="Freeform 6">
              <a:extLst>
                <a:ext uri="{FF2B5EF4-FFF2-40B4-BE49-F238E27FC236}">
                  <a16:creationId xmlns:a16="http://schemas.microsoft.com/office/drawing/2014/main" id="{FB2B76A1-114C-433B-8012-C92676EEF8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F0EA9399-9BE8-41AF-8045-D0420265E7A7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37" name="Freeform 7">
                <a:extLst>
                  <a:ext uri="{FF2B5EF4-FFF2-40B4-BE49-F238E27FC236}">
                    <a16:creationId xmlns:a16="http://schemas.microsoft.com/office/drawing/2014/main" id="{C0705B63-CDD9-4B98-BBB9-129890734C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8">
                <a:extLst>
                  <a:ext uri="{FF2B5EF4-FFF2-40B4-BE49-F238E27FC236}">
                    <a16:creationId xmlns:a16="http://schemas.microsoft.com/office/drawing/2014/main" id="{37873C95-B4B9-4D3F-8F2B-1F7E9CDD8D9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9">
                <a:extLst>
                  <a:ext uri="{FF2B5EF4-FFF2-40B4-BE49-F238E27FC236}">
                    <a16:creationId xmlns:a16="http://schemas.microsoft.com/office/drawing/2014/main" id="{DEDCFF11-F37C-4A97-9525-49EC385828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0">
                <a:extLst>
                  <a:ext uri="{FF2B5EF4-FFF2-40B4-BE49-F238E27FC236}">
                    <a16:creationId xmlns:a16="http://schemas.microsoft.com/office/drawing/2014/main" id="{FA6D5E4F-AB2E-44B6-B403-C2E671EBA2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1">
                <a:extLst>
                  <a:ext uri="{FF2B5EF4-FFF2-40B4-BE49-F238E27FC236}">
                    <a16:creationId xmlns:a16="http://schemas.microsoft.com/office/drawing/2014/main" id="{9A77CCC4-C472-4018-B101-78E437AADF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2">
                <a:extLst>
                  <a:ext uri="{FF2B5EF4-FFF2-40B4-BE49-F238E27FC236}">
                    <a16:creationId xmlns:a16="http://schemas.microsoft.com/office/drawing/2014/main" id="{101B07C3-A05E-4452-95C3-A224310903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3" name="Freeform 13">
                <a:extLst>
                  <a:ext uri="{FF2B5EF4-FFF2-40B4-BE49-F238E27FC236}">
                    <a16:creationId xmlns:a16="http://schemas.microsoft.com/office/drawing/2014/main" id="{BD34AE42-2F7D-497A-BC97-5CBC48123F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4" name="Freeform 14">
                <a:extLst>
                  <a:ext uri="{FF2B5EF4-FFF2-40B4-BE49-F238E27FC236}">
                    <a16:creationId xmlns:a16="http://schemas.microsoft.com/office/drawing/2014/main" id="{DAA2AC69-85F7-4098-89C0-B43D8A77CA7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5" name="Freeform 15">
                <a:extLst>
                  <a:ext uri="{FF2B5EF4-FFF2-40B4-BE49-F238E27FC236}">
                    <a16:creationId xmlns:a16="http://schemas.microsoft.com/office/drawing/2014/main" id="{F3A06AD5-31F8-4D18-8639-A476D2C033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6" name="Freeform 16">
                <a:extLst>
                  <a:ext uri="{FF2B5EF4-FFF2-40B4-BE49-F238E27FC236}">
                    <a16:creationId xmlns:a16="http://schemas.microsoft.com/office/drawing/2014/main" id="{6AF5945C-C038-4B9C-9AC1-783433F96C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0543800-777F-4A36-8003-A058D04E62D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 algn="r"/>
            <a:fld id="{4CE5A7BF-4B59-46B4-9E1E-750189930794}" type="datetime1">
              <a:rPr lang="de-DE" smtClean="0"/>
              <a:t>2022-01-1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170F859-33A7-427E-A5C9-27FEA21869B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59A9547-691C-4948-A8E5-C71CA5968B44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DC65F5F3-5F25-49DD-9082-C7A05680F31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62000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29" name="Textplatzhalter 8">
            <a:extLst>
              <a:ext uri="{FF2B5EF4-FFF2-40B4-BE49-F238E27FC236}">
                <a16:creationId xmlns:a16="http://schemas.microsoft.com/office/drawing/2014/main" id="{C7D15551-1290-405F-BD25-6ABF0894721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575682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30" name="Textplatzhalter 8">
            <a:extLst>
              <a:ext uri="{FF2B5EF4-FFF2-40B4-BE49-F238E27FC236}">
                <a16:creationId xmlns:a16="http://schemas.microsoft.com/office/drawing/2014/main" id="{22F89AD0-02C5-4175-B3F4-8788C3137D8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87027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31" name="Textplatzhalter 8">
            <a:extLst>
              <a:ext uri="{FF2B5EF4-FFF2-40B4-BE49-F238E27FC236}">
                <a16:creationId xmlns:a16="http://schemas.microsoft.com/office/drawing/2014/main" id="{FE572951-2F2B-4587-8B08-FA97A950415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197202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4</a:t>
            </a:r>
          </a:p>
        </p:txBody>
      </p:sp>
      <p:sp>
        <p:nvSpPr>
          <p:cNvPr id="33" name="Textplatzhalter 28">
            <a:extLst>
              <a:ext uri="{FF2B5EF4-FFF2-40B4-BE49-F238E27FC236}">
                <a16:creationId xmlns:a16="http://schemas.microsoft.com/office/drawing/2014/main" id="{4ED0B10A-D3D0-4421-86F8-F66783F8525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62000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4" name="Textplatzhalter 28">
            <a:extLst>
              <a:ext uri="{FF2B5EF4-FFF2-40B4-BE49-F238E27FC236}">
                <a16:creationId xmlns:a16="http://schemas.microsoft.com/office/drawing/2014/main" id="{6320E11F-E7F2-4E8F-9EDD-97A74F2BDB6E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575682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5" name="Textplatzhalter 28">
            <a:extLst>
              <a:ext uri="{FF2B5EF4-FFF2-40B4-BE49-F238E27FC236}">
                <a16:creationId xmlns:a16="http://schemas.microsoft.com/office/drawing/2014/main" id="{3DBEFF14-C172-4623-AD1D-F41CEF998726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87027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6" name="Textplatzhalter 28">
            <a:extLst>
              <a:ext uri="{FF2B5EF4-FFF2-40B4-BE49-F238E27FC236}">
                <a16:creationId xmlns:a16="http://schemas.microsoft.com/office/drawing/2014/main" id="{6FA93FC9-E925-4BFF-A3E4-F222D9C8A983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197202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7" name="Untertitel 2">
            <a:extLst>
              <a:ext uri="{FF2B5EF4-FFF2-40B4-BE49-F238E27FC236}">
                <a16:creationId xmlns:a16="http://schemas.microsoft.com/office/drawing/2014/main" id="{C14B58CB-28C0-4E82-A4BC-8BFBB3EED94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48" name="Bildplatzhalter 47">
            <a:extLst>
              <a:ext uri="{FF2B5EF4-FFF2-40B4-BE49-F238E27FC236}">
                <a16:creationId xmlns:a16="http://schemas.microsoft.com/office/drawing/2014/main" id="{77EBA76F-BAD9-46BE-BD45-4F48248A3D1D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762001" y="1592264"/>
            <a:ext cx="2228034" cy="2960686"/>
          </a:xfrm>
          <a:custGeom>
            <a:avLst/>
            <a:gdLst>
              <a:gd name="connsiteX0" fmla="*/ 316581 w 2228034"/>
              <a:gd name="connsiteY0" fmla="*/ 0 h 2960686"/>
              <a:gd name="connsiteX1" fmla="*/ 1911454 w 2228034"/>
              <a:gd name="connsiteY1" fmla="*/ 0 h 2960686"/>
              <a:gd name="connsiteX2" fmla="*/ 2221603 w 2228034"/>
              <a:gd name="connsiteY2" fmla="*/ 252779 h 2960686"/>
              <a:gd name="connsiteX3" fmla="*/ 2228034 w 2228034"/>
              <a:gd name="connsiteY3" fmla="*/ 316571 h 2960686"/>
              <a:gd name="connsiteX4" fmla="*/ 2228034 w 2228034"/>
              <a:gd name="connsiteY4" fmla="*/ 2960686 h 2960686"/>
              <a:gd name="connsiteX5" fmla="*/ 0 w 2228034"/>
              <a:gd name="connsiteY5" fmla="*/ 2960686 h 2960686"/>
              <a:gd name="connsiteX6" fmla="*/ 0 w 2228034"/>
              <a:gd name="connsiteY6" fmla="*/ 2644106 h 2960686"/>
              <a:gd name="connsiteX7" fmla="*/ 0 w 2228034"/>
              <a:gd name="connsiteY7" fmla="*/ 1760537 h 2960686"/>
              <a:gd name="connsiteX8" fmla="*/ 0 w 2228034"/>
              <a:gd name="connsiteY8" fmla="*/ 316581 h 2960686"/>
              <a:gd name="connsiteX9" fmla="*/ 316581 w 2228034"/>
              <a:gd name="connsiteY9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28034" h="2960686">
                <a:moveTo>
                  <a:pt x="316581" y="0"/>
                </a:moveTo>
                <a:lnTo>
                  <a:pt x="1911454" y="0"/>
                </a:lnTo>
                <a:cubicBezTo>
                  <a:pt x="2064442" y="0"/>
                  <a:pt x="2192083" y="108518"/>
                  <a:pt x="2221603" y="252779"/>
                </a:cubicBezTo>
                <a:lnTo>
                  <a:pt x="2228034" y="316571"/>
                </a:lnTo>
                <a:lnTo>
                  <a:pt x="2228034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9" name="Bildplatzhalter 48">
            <a:extLst>
              <a:ext uri="{FF2B5EF4-FFF2-40B4-BE49-F238E27FC236}">
                <a16:creationId xmlns:a16="http://schemas.microsoft.com/office/drawing/2014/main" id="{5519A44C-C8A9-4A1D-8C11-53F9CB85E18F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9197202" y="1592264"/>
            <a:ext cx="2228035" cy="2960686"/>
          </a:xfrm>
          <a:custGeom>
            <a:avLst/>
            <a:gdLst>
              <a:gd name="connsiteX0" fmla="*/ 316581 w 2228035"/>
              <a:gd name="connsiteY0" fmla="*/ 0 h 2960686"/>
              <a:gd name="connsiteX1" fmla="*/ 1911454 w 2228035"/>
              <a:gd name="connsiteY1" fmla="*/ 0 h 2960686"/>
              <a:gd name="connsiteX2" fmla="*/ 2228035 w 2228035"/>
              <a:gd name="connsiteY2" fmla="*/ 316581 h 2960686"/>
              <a:gd name="connsiteX3" fmla="*/ 2228035 w 2228035"/>
              <a:gd name="connsiteY3" fmla="*/ 1760537 h 2960686"/>
              <a:gd name="connsiteX4" fmla="*/ 2228035 w 2228035"/>
              <a:gd name="connsiteY4" fmla="*/ 2644106 h 2960686"/>
              <a:gd name="connsiteX5" fmla="*/ 2228035 w 2228035"/>
              <a:gd name="connsiteY5" fmla="*/ 2960686 h 2960686"/>
              <a:gd name="connsiteX6" fmla="*/ 0 w 2228035"/>
              <a:gd name="connsiteY6" fmla="*/ 2960686 h 2960686"/>
              <a:gd name="connsiteX7" fmla="*/ 0 w 2228035"/>
              <a:gd name="connsiteY7" fmla="*/ 2644106 h 2960686"/>
              <a:gd name="connsiteX8" fmla="*/ 0 w 2228035"/>
              <a:gd name="connsiteY8" fmla="*/ 1760537 h 2960686"/>
              <a:gd name="connsiteX9" fmla="*/ 0 w 2228035"/>
              <a:gd name="connsiteY9" fmla="*/ 316581 h 2960686"/>
              <a:gd name="connsiteX10" fmla="*/ 316581 w 2228035"/>
              <a:gd name="connsiteY10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28035" h="2960686">
                <a:moveTo>
                  <a:pt x="316581" y="0"/>
                </a:moveTo>
                <a:lnTo>
                  <a:pt x="1911454" y="0"/>
                </a:lnTo>
                <a:cubicBezTo>
                  <a:pt x="2086297" y="0"/>
                  <a:pt x="2228035" y="141738"/>
                  <a:pt x="2228035" y="316581"/>
                </a:cubicBezTo>
                <a:lnTo>
                  <a:pt x="2228035" y="1760537"/>
                </a:lnTo>
                <a:lnTo>
                  <a:pt x="2228035" y="2644106"/>
                </a:lnTo>
                <a:lnTo>
                  <a:pt x="2228035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50" name="Bildplatzhalter 49">
            <a:extLst>
              <a:ext uri="{FF2B5EF4-FFF2-40B4-BE49-F238E27FC236}">
                <a16:creationId xmlns:a16="http://schemas.microsoft.com/office/drawing/2014/main" id="{9FDB38EF-879F-4CC0-9244-9B339BD4D465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3575682" y="1592264"/>
            <a:ext cx="2228035" cy="2960686"/>
          </a:xfrm>
          <a:custGeom>
            <a:avLst/>
            <a:gdLst>
              <a:gd name="connsiteX0" fmla="*/ 316581 w 2228035"/>
              <a:gd name="connsiteY0" fmla="*/ 0 h 2960686"/>
              <a:gd name="connsiteX1" fmla="*/ 1911454 w 2228035"/>
              <a:gd name="connsiteY1" fmla="*/ 0 h 2960686"/>
              <a:gd name="connsiteX2" fmla="*/ 2228035 w 2228035"/>
              <a:gd name="connsiteY2" fmla="*/ 316581 h 2960686"/>
              <a:gd name="connsiteX3" fmla="*/ 2228035 w 2228035"/>
              <a:gd name="connsiteY3" fmla="*/ 1760537 h 2960686"/>
              <a:gd name="connsiteX4" fmla="*/ 2228035 w 2228035"/>
              <a:gd name="connsiteY4" fmla="*/ 2644106 h 2960686"/>
              <a:gd name="connsiteX5" fmla="*/ 2228035 w 2228035"/>
              <a:gd name="connsiteY5" fmla="*/ 2960686 h 2960686"/>
              <a:gd name="connsiteX6" fmla="*/ 0 w 2228035"/>
              <a:gd name="connsiteY6" fmla="*/ 2960686 h 2960686"/>
              <a:gd name="connsiteX7" fmla="*/ 0 w 2228035"/>
              <a:gd name="connsiteY7" fmla="*/ 2644106 h 2960686"/>
              <a:gd name="connsiteX8" fmla="*/ 0 w 2228035"/>
              <a:gd name="connsiteY8" fmla="*/ 1760537 h 2960686"/>
              <a:gd name="connsiteX9" fmla="*/ 0 w 2228035"/>
              <a:gd name="connsiteY9" fmla="*/ 316581 h 2960686"/>
              <a:gd name="connsiteX10" fmla="*/ 316581 w 2228035"/>
              <a:gd name="connsiteY10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28035" h="2960686">
                <a:moveTo>
                  <a:pt x="316581" y="0"/>
                </a:moveTo>
                <a:lnTo>
                  <a:pt x="1911454" y="0"/>
                </a:lnTo>
                <a:cubicBezTo>
                  <a:pt x="2086297" y="0"/>
                  <a:pt x="2228035" y="141738"/>
                  <a:pt x="2228035" y="316581"/>
                </a:cubicBezTo>
                <a:lnTo>
                  <a:pt x="2228035" y="1760537"/>
                </a:lnTo>
                <a:lnTo>
                  <a:pt x="2228035" y="2644106"/>
                </a:lnTo>
                <a:lnTo>
                  <a:pt x="2228035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51" name="Bildplatzhalter 50">
            <a:extLst>
              <a:ext uri="{FF2B5EF4-FFF2-40B4-BE49-F238E27FC236}">
                <a16:creationId xmlns:a16="http://schemas.microsoft.com/office/drawing/2014/main" id="{5041F5FB-BC44-4093-AE7B-CD10430091A7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6387027" y="1592264"/>
            <a:ext cx="2228035" cy="2960686"/>
          </a:xfrm>
          <a:custGeom>
            <a:avLst/>
            <a:gdLst>
              <a:gd name="connsiteX0" fmla="*/ 316581 w 2228035"/>
              <a:gd name="connsiteY0" fmla="*/ 0 h 2960686"/>
              <a:gd name="connsiteX1" fmla="*/ 1911454 w 2228035"/>
              <a:gd name="connsiteY1" fmla="*/ 0 h 2960686"/>
              <a:gd name="connsiteX2" fmla="*/ 2228035 w 2228035"/>
              <a:gd name="connsiteY2" fmla="*/ 316581 h 2960686"/>
              <a:gd name="connsiteX3" fmla="*/ 2228035 w 2228035"/>
              <a:gd name="connsiteY3" fmla="*/ 1760537 h 2960686"/>
              <a:gd name="connsiteX4" fmla="*/ 2228035 w 2228035"/>
              <a:gd name="connsiteY4" fmla="*/ 2644106 h 2960686"/>
              <a:gd name="connsiteX5" fmla="*/ 2228035 w 2228035"/>
              <a:gd name="connsiteY5" fmla="*/ 2960686 h 2960686"/>
              <a:gd name="connsiteX6" fmla="*/ 0 w 2228035"/>
              <a:gd name="connsiteY6" fmla="*/ 2960686 h 2960686"/>
              <a:gd name="connsiteX7" fmla="*/ 0 w 2228035"/>
              <a:gd name="connsiteY7" fmla="*/ 2644106 h 2960686"/>
              <a:gd name="connsiteX8" fmla="*/ 0 w 2228035"/>
              <a:gd name="connsiteY8" fmla="*/ 1760537 h 2960686"/>
              <a:gd name="connsiteX9" fmla="*/ 0 w 2228035"/>
              <a:gd name="connsiteY9" fmla="*/ 316581 h 2960686"/>
              <a:gd name="connsiteX10" fmla="*/ 316581 w 2228035"/>
              <a:gd name="connsiteY10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28035" h="2960686">
                <a:moveTo>
                  <a:pt x="316581" y="0"/>
                </a:moveTo>
                <a:lnTo>
                  <a:pt x="1911454" y="0"/>
                </a:lnTo>
                <a:cubicBezTo>
                  <a:pt x="2086297" y="0"/>
                  <a:pt x="2228035" y="141738"/>
                  <a:pt x="2228035" y="316581"/>
                </a:cubicBezTo>
                <a:lnTo>
                  <a:pt x="2228035" y="1760537"/>
                </a:lnTo>
                <a:lnTo>
                  <a:pt x="2228035" y="2644106"/>
                </a:lnTo>
                <a:lnTo>
                  <a:pt x="2228035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</p:spTree>
    <p:extLst>
      <p:ext uri="{BB962C8B-B14F-4D97-AF65-F5344CB8AC3E}">
        <p14:creationId xmlns:p14="http://schemas.microsoft.com/office/powerpoint/2010/main" val="1244728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Bilder Inhalt Farbfläch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ihandform: Form 22">
            <a:extLst>
              <a:ext uri="{FF2B5EF4-FFF2-40B4-BE49-F238E27FC236}">
                <a16:creationId xmlns:a16="http://schemas.microsoft.com/office/drawing/2014/main" id="{42C1C417-C6A8-42BE-9910-2D37DC5D2A6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262360 w 12192000"/>
              <a:gd name="connsiteY3" fmla="*/ 6858000 h 6858000"/>
              <a:gd name="connsiteX4" fmla="*/ 11262360 w 12192000"/>
              <a:gd name="connsiteY4" fmla="*/ 3802297 h 6858000"/>
              <a:gd name="connsiteX5" fmla="*/ 10276288 w 12192000"/>
              <a:gd name="connsiteY5" fmla="*/ 2816225 h 6858000"/>
              <a:gd name="connsiteX6" fmla="*/ 0 w 12192000"/>
              <a:gd name="connsiteY6" fmla="*/ 281622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262360" y="6858000"/>
                </a:lnTo>
                <a:lnTo>
                  <a:pt x="11262360" y="3802297"/>
                </a:lnTo>
                <a:cubicBezTo>
                  <a:pt x="11262360" y="3257704"/>
                  <a:pt x="10820881" y="2816225"/>
                  <a:pt x="10276288" y="2816225"/>
                </a:cubicBezTo>
                <a:lnTo>
                  <a:pt x="0" y="2816225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78833B7C-624A-4366-B73C-BA06FB92685A}"/>
              </a:ext>
            </a:extLst>
          </p:cNvPr>
          <p:cNvSpPr/>
          <p:nvPr userDrawn="1"/>
        </p:nvSpPr>
        <p:spPr>
          <a:xfrm>
            <a:off x="-10930" y="2601380"/>
            <a:ext cx="11503732" cy="4267200"/>
          </a:xfrm>
          <a:custGeom>
            <a:avLst/>
            <a:gdLst>
              <a:gd name="connsiteX0" fmla="*/ 0 w 11503732"/>
              <a:gd name="connsiteY0" fmla="*/ 0 h 4267200"/>
              <a:gd name="connsiteX1" fmla="*/ 10297224 w 11503732"/>
              <a:gd name="connsiteY1" fmla="*/ 0 h 4267200"/>
              <a:gd name="connsiteX2" fmla="*/ 11503732 w 11503732"/>
              <a:gd name="connsiteY2" fmla="*/ 1206508 h 4267200"/>
              <a:gd name="connsiteX3" fmla="*/ 11503732 w 11503732"/>
              <a:gd name="connsiteY3" fmla="*/ 4267200 h 4267200"/>
              <a:gd name="connsiteX4" fmla="*/ 0 w 11503732"/>
              <a:gd name="connsiteY4" fmla="*/ 426720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03732" h="4267200">
                <a:moveTo>
                  <a:pt x="0" y="0"/>
                </a:moveTo>
                <a:lnTo>
                  <a:pt x="10297224" y="0"/>
                </a:lnTo>
                <a:cubicBezTo>
                  <a:pt x="10963560" y="0"/>
                  <a:pt x="11503732" y="540172"/>
                  <a:pt x="11503732" y="1206508"/>
                </a:cubicBezTo>
                <a:lnTo>
                  <a:pt x="11503732" y="4267200"/>
                </a:lnTo>
                <a:lnTo>
                  <a:pt x="0" y="4267200"/>
                </a:ln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487488" y="1915370"/>
            <a:ext cx="2300287" cy="2126405"/>
          </a:xfrm>
          <a:prstGeom prst="round2SameRect">
            <a:avLst>
              <a:gd name="adj1" fmla="val 14427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4E6E7D95-E752-4938-A697-BF0079FA9A28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6" cy="635012"/>
          </a:xfrm>
        </p:grpSpPr>
        <p:sp>
          <p:nvSpPr>
            <p:cNvPr id="30" name="Oval 5">
              <a:extLst>
                <a:ext uri="{FF2B5EF4-FFF2-40B4-BE49-F238E27FC236}">
                  <a16:creationId xmlns:a16="http://schemas.microsoft.com/office/drawing/2014/main" id="{1D77E2A1-AC77-44E7-839B-CADFB8AA1A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607E5BD9-B18D-42DC-A03B-FFC59313D6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79A6C844-5DD2-409E-98B9-E19508E5FA87}"/>
                </a:ext>
              </a:extLst>
            </p:cNvPr>
            <p:cNvGrpSpPr/>
            <p:nvPr/>
          </p:nvGrpSpPr>
          <p:grpSpPr>
            <a:xfrm>
              <a:off x="1311217" y="1530579"/>
              <a:ext cx="1533582" cy="307590"/>
              <a:chOff x="3987943" y="2307132"/>
              <a:chExt cx="2607166" cy="522910"/>
            </a:xfrm>
          </p:grpSpPr>
          <p:sp>
            <p:nvSpPr>
              <p:cNvPr id="33" name="Freeform 7">
                <a:extLst>
                  <a:ext uri="{FF2B5EF4-FFF2-40B4-BE49-F238E27FC236}">
                    <a16:creationId xmlns:a16="http://schemas.microsoft.com/office/drawing/2014/main" id="{643D1AFD-B7D6-4A09-BFEB-A6E265C0EA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8">
                <a:extLst>
                  <a:ext uri="{FF2B5EF4-FFF2-40B4-BE49-F238E27FC236}">
                    <a16:creationId xmlns:a16="http://schemas.microsoft.com/office/drawing/2014/main" id="{40E33BC4-1E2D-4478-BF91-015ADA50B16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9">
                <a:extLst>
                  <a:ext uri="{FF2B5EF4-FFF2-40B4-BE49-F238E27FC236}">
                    <a16:creationId xmlns:a16="http://schemas.microsoft.com/office/drawing/2014/main" id="{B1369C83-92F5-4D60-B81D-1BA647CC02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0">
                <a:extLst>
                  <a:ext uri="{FF2B5EF4-FFF2-40B4-BE49-F238E27FC236}">
                    <a16:creationId xmlns:a16="http://schemas.microsoft.com/office/drawing/2014/main" id="{26C5AFE6-9457-47F3-A719-0D2F180FCD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1">
                <a:extLst>
                  <a:ext uri="{FF2B5EF4-FFF2-40B4-BE49-F238E27FC236}">
                    <a16:creationId xmlns:a16="http://schemas.microsoft.com/office/drawing/2014/main" id="{6EE3B5FE-7E51-4F77-8F4D-99C718E2FA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2">
                <a:extLst>
                  <a:ext uri="{FF2B5EF4-FFF2-40B4-BE49-F238E27FC236}">
                    <a16:creationId xmlns:a16="http://schemas.microsoft.com/office/drawing/2014/main" id="{4C62839E-3074-4973-814C-1B5157D823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3">
                <a:extLst>
                  <a:ext uri="{FF2B5EF4-FFF2-40B4-BE49-F238E27FC236}">
                    <a16:creationId xmlns:a16="http://schemas.microsoft.com/office/drawing/2014/main" id="{CBC551B8-B813-4181-B5A2-4FCDD7F799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4">
                <a:extLst>
                  <a:ext uri="{FF2B5EF4-FFF2-40B4-BE49-F238E27FC236}">
                    <a16:creationId xmlns:a16="http://schemas.microsoft.com/office/drawing/2014/main" id="{B4BC6E0C-B64B-45FC-BE32-87D981D4A3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5">
                <a:extLst>
                  <a:ext uri="{FF2B5EF4-FFF2-40B4-BE49-F238E27FC236}">
                    <a16:creationId xmlns:a16="http://schemas.microsoft.com/office/drawing/2014/main" id="{A8A873D6-99AD-4B9F-925C-0040680E39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6">
                <a:extLst>
                  <a:ext uri="{FF2B5EF4-FFF2-40B4-BE49-F238E27FC236}">
                    <a16:creationId xmlns:a16="http://schemas.microsoft.com/office/drawing/2014/main" id="{E6FE9E62-9925-40BD-83DB-748F8A9258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44" name="Bildplatzhalter 43">
            <a:extLst>
              <a:ext uri="{FF2B5EF4-FFF2-40B4-BE49-F238E27FC236}">
                <a16:creationId xmlns:a16="http://schemas.microsoft.com/office/drawing/2014/main" id="{2CF2BA29-B1F5-4E1C-915D-7F4FC6184988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4943475" y="1915370"/>
            <a:ext cx="2300287" cy="2126405"/>
          </a:xfrm>
          <a:prstGeom prst="round2SameRect">
            <a:avLst>
              <a:gd name="adj1" fmla="val 14427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5" name="Bildplatzhalter 44">
            <a:extLst>
              <a:ext uri="{FF2B5EF4-FFF2-40B4-BE49-F238E27FC236}">
                <a16:creationId xmlns:a16="http://schemas.microsoft.com/office/drawing/2014/main" id="{B7C45DC4-51D5-44A9-817E-78B83E5B082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8399462" y="1915370"/>
            <a:ext cx="2300287" cy="2126405"/>
          </a:xfrm>
          <a:prstGeom prst="round2SameRect">
            <a:avLst>
              <a:gd name="adj1" fmla="val 14427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95AA77A-1C06-4D07-8794-FCA3B043B958}"/>
              </a:ext>
            </a:extLst>
          </p:cNvPr>
          <p:cNvSpPr>
            <a:spLocks noGrp="1"/>
          </p:cNvSpPr>
          <p:nvPr>
            <p:ph type="dt" sz="half" idx="22"/>
          </p:nvPr>
        </p:nvSpPr>
        <p:spPr>
          <a:xfrm>
            <a:off x="11160919" y="6991314"/>
            <a:ext cx="457993" cy="101671"/>
          </a:xfrm>
        </p:spPr>
        <p:txBody>
          <a:bodyPr/>
          <a:lstStyle/>
          <a:p>
            <a:pPr algn="r"/>
            <a:fld id="{0040E567-59E0-4EB2-B8B0-8E65D1ABDDF3}" type="datetime1">
              <a:rPr lang="de-DE" smtClean="0"/>
              <a:t>2022-01-1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DD25278-5920-4203-8EF2-E38D0AAB249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8401051" y="6991314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92D9BE3-5B6C-4092-94F4-64CE9C9872B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11725538" y="6991314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6" name="Untertitel 2">
            <a:extLst>
              <a:ext uri="{FF2B5EF4-FFF2-40B4-BE49-F238E27FC236}">
                <a16:creationId xmlns:a16="http://schemas.microsoft.com/office/drawing/2014/main" id="{ECA3A5F9-E289-4294-9F7A-29E9AEC3A3A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47" name="Textplatzhalter 8">
            <a:extLst>
              <a:ext uri="{FF2B5EF4-FFF2-40B4-BE49-F238E27FC236}">
                <a16:creationId xmlns:a16="http://schemas.microsoft.com/office/drawing/2014/main" id="{12AFD144-3B50-4F91-8441-182543910CC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487488" y="4300582"/>
            <a:ext cx="2300287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48" name="Textplatzhalter 16">
            <a:extLst>
              <a:ext uri="{FF2B5EF4-FFF2-40B4-BE49-F238E27FC236}">
                <a16:creationId xmlns:a16="http://schemas.microsoft.com/office/drawing/2014/main" id="{7C55FB76-330C-43C1-A6D1-95F39328501B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487488" y="4713288"/>
            <a:ext cx="2300287" cy="156051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4" name="Textplatzhalter 16">
            <a:extLst>
              <a:ext uri="{FF2B5EF4-FFF2-40B4-BE49-F238E27FC236}">
                <a16:creationId xmlns:a16="http://schemas.microsoft.com/office/drawing/2014/main" id="{B695A75E-3972-4898-9709-54E11C527598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943475" y="4713288"/>
            <a:ext cx="2300287" cy="156051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5" name="Textplatzhalter 8">
            <a:extLst>
              <a:ext uri="{FF2B5EF4-FFF2-40B4-BE49-F238E27FC236}">
                <a16:creationId xmlns:a16="http://schemas.microsoft.com/office/drawing/2014/main" id="{B4AC352C-8BFA-4B04-8161-F39F41D11A4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943475" y="4300582"/>
            <a:ext cx="2300287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56" name="Textplatzhalter 8">
            <a:extLst>
              <a:ext uri="{FF2B5EF4-FFF2-40B4-BE49-F238E27FC236}">
                <a16:creationId xmlns:a16="http://schemas.microsoft.com/office/drawing/2014/main" id="{F0836A57-2522-4CEC-9F8E-D6F07EFC234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399462" y="4300582"/>
            <a:ext cx="2300287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57" name="Textplatzhalter 16">
            <a:extLst>
              <a:ext uri="{FF2B5EF4-FFF2-40B4-BE49-F238E27FC236}">
                <a16:creationId xmlns:a16="http://schemas.microsoft.com/office/drawing/2014/main" id="{F33FFE5C-656A-45E8-8AD7-C79684EDA491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399462" y="4713288"/>
            <a:ext cx="2300287" cy="156051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91948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Bilder Inhalt Farbfläch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ihandform: Form 22">
            <a:extLst>
              <a:ext uri="{FF2B5EF4-FFF2-40B4-BE49-F238E27FC236}">
                <a16:creationId xmlns:a16="http://schemas.microsoft.com/office/drawing/2014/main" id="{42C1C417-C6A8-42BE-9910-2D37DC5D2A6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262360 w 12192000"/>
              <a:gd name="connsiteY3" fmla="*/ 6858000 h 6858000"/>
              <a:gd name="connsiteX4" fmla="*/ 11262360 w 12192000"/>
              <a:gd name="connsiteY4" fmla="*/ 3802297 h 6858000"/>
              <a:gd name="connsiteX5" fmla="*/ 10276288 w 12192000"/>
              <a:gd name="connsiteY5" fmla="*/ 2816225 h 6858000"/>
              <a:gd name="connsiteX6" fmla="*/ 0 w 12192000"/>
              <a:gd name="connsiteY6" fmla="*/ 281622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262360" y="6858000"/>
                </a:lnTo>
                <a:lnTo>
                  <a:pt x="11262360" y="3802297"/>
                </a:lnTo>
                <a:cubicBezTo>
                  <a:pt x="11262360" y="3257704"/>
                  <a:pt x="10820881" y="2816225"/>
                  <a:pt x="10276288" y="2816225"/>
                </a:cubicBezTo>
                <a:lnTo>
                  <a:pt x="0" y="2816225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78833B7C-624A-4366-B73C-BA06FB92685A}"/>
              </a:ext>
            </a:extLst>
          </p:cNvPr>
          <p:cNvSpPr/>
          <p:nvPr userDrawn="1"/>
        </p:nvSpPr>
        <p:spPr>
          <a:xfrm>
            <a:off x="-10930" y="2601380"/>
            <a:ext cx="11503732" cy="4267200"/>
          </a:xfrm>
          <a:custGeom>
            <a:avLst/>
            <a:gdLst>
              <a:gd name="connsiteX0" fmla="*/ 0 w 11503732"/>
              <a:gd name="connsiteY0" fmla="*/ 0 h 4267200"/>
              <a:gd name="connsiteX1" fmla="*/ 10297224 w 11503732"/>
              <a:gd name="connsiteY1" fmla="*/ 0 h 4267200"/>
              <a:gd name="connsiteX2" fmla="*/ 11503732 w 11503732"/>
              <a:gd name="connsiteY2" fmla="*/ 1206508 h 4267200"/>
              <a:gd name="connsiteX3" fmla="*/ 11503732 w 11503732"/>
              <a:gd name="connsiteY3" fmla="*/ 4267200 h 4267200"/>
              <a:gd name="connsiteX4" fmla="*/ 0 w 11503732"/>
              <a:gd name="connsiteY4" fmla="*/ 426720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03732" h="4267200">
                <a:moveTo>
                  <a:pt x="0" y="0"/>
                </a:moveTo>
                <a:lnTo>
                  <a:pt x="10297224" y="0"/>
                </a:lnTo>
                <a:cubicBezTo>
                  <a:pt x="10963560" y="0"/>
                  <a:pt x="11503732" y="540172"/>
                  <a:pt x="11503732" y="1206508"/>
                </a:cubicBezTo>
                <a:lnTo>
                  <a:pt x="11503732" y="4267200"/>
                </a:lnTo>
                <a:lnTo>
                  <a:pt x="0" y="4267200"/>
                </a:ln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487488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4E6E7D95-E752-4938-A697-BF0079FA9A28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6" cy="635012"/>
          </a:xfrm>
        </p:grpSpPr>
        <p:sp>
          <p:nvSpPr>
            <p:cNvPr id="30" name="Oval 5">
              <a:extLst>
                <a:ext uri="{FF2B5EF4-FFF2-40B4-BE49-F238E27FC236}">
                  <a16:creationId xmlns:a16="http://schemas.microsoft.com/office/drawing/2014/main" id="{1D77E2A1-AC77-44E7-839B-CADFB8AA1A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607E5BD9-B18D-42DC-A03B-FFC59313D6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79A6C844-5DD2-409E-98B9-E19508E5FA87}"/>
                </a:ext>
              </a:extLst>
            </p:cNvPr>
            <p:cNvGrpSpPr/>
            <p:nvPr/>
          </p:nvGrpSpPr>
          <p:grpSpPr>
            <a:xfrm>
              <a:off x="1311217" y="1530579"/>
              <a:ext cx="1533582" cy="307590"/>
              <a:chOff x="3987943" y="2307132"/>
              <a:chExt cx="2607166" cy="522910"/>
            </a:xfrm>
          </p:grpSpPr>
          <p:sp>
            <p:nvSpPr>
              <p:cNvPr id="33" name="Freeform 7">
                <a:extLst>
                  <a:ext uri="{FF2B5EF4-FFF2-40B4-BE49-F238E27FC236}">
                    <a16:creationId xmlns:a16="http://schemas.microsoft.com/office/drawing/2014/main" id="{643D1AFD-B7D6-4A09-BFEB-A6E265C0EA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8">
                <a:extLst>
                  <a:ext uri="{FF2B5EF4-FFF2-40B4-BE49-F238E27FC236}">
                    <a16:creationId xmlns:a16="http://schemas.microsoft.com/office/drawing/2014/main" id="{40E33BC4-1E2D-4478-BF91-015ADA50B16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9">
                <a:extLst>
                  <a:ext uri="{FF2B5EF4-FFF2-40B4-BE49-F238E27FC236}">
                    <a16:creationId xmlns:a16="http://schemas.microsoft.com/office/drawing/2014/main" id="{B1369C83-92F5-4D60-B81D-1BA647CC02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0">
                <a:extLst>
                  <a:ext uri="{FF2B5EF4-FFF2-40B4-BE49-F238E27FC236}">
                    <a16:creationId xmlns:a16="http://schemas.microsoft.com/office/drawing/2014/main" id="{26C5AFE6-9457-47F3-A719-0D2F180FCD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1">
                <a:extLst>
                  <a:ext uri="{FF2B5EF4-FFF2-40B4-BE49-F238E27FC236}">
                    <a16:creationId xmlns:a16="http://schemas.microsoft.com/office/drawing/2014/main" id="{6EE3B5FE-7E51-4F77-8F4D-99C718E2FA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2">
                <a:extLst>
                  <a:ext uri="{FF2B5EF4-FFF2-40B4-BE49-F238E27FC236}">
                    <a16:creationId xmlns:a16="http://schemas.microsoft.com/office/drawing/2014/main" id="{4C62839E-3074-4973-814C-1B5157D823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3">
                <a:extLst>
                  <a:ext uri="{FF2B5EF4-FFF2-40B4-BE49-F238E27FC236}">
                    <a16:creationId xmlns:a16="http://schemas.microsoft.com/office/drawing/2014/main" id="{CBC551B8-B813-4181-B5A2-4FCDD7F799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4">
                <a:extLst>
                  <a:ext uri="{FF2B5EF4-FFF2-40B4-BE49-F238E27FC236}">
                    <a16:creationId xmlns:a16="http://schemas.microsoft.com/office/drawing/2014/main" id="{B4BC6E0C-B64B-45FC-BE32-87D981D4A3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5">
                <a:extLst>
                  <a:ext uri="{FF2B5EF4-FFF2-40B4-BE49-F238E27FC236}">
                    <a16:creationId xmlns:a16="http://schemas.microsoft.com/office/drawing/2014/main" id="{A8A873D6-99AD-4B9F-925C-0040680E39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6">
                <a:extLst>
                  <a:ext uri="{FF2B5EF4-FFF2-40B4-BE49-F238E27FC236}">
                    <a16:creationId xmlns:a16="http://schemas.microsoft.com/office/drawing/2014/main" id="{E6FE9E62-9925-40BD-83DB-748F8A9258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50" name="Bildplatzhalter 49">
            <a:extLst>
              <a:ext uri="{FF2B5EF4-FFF2-40B4-BE49-F238E27FC236}">
                <a16:creationId xmlns:a16="http://schemas.microsoft.com/office/drawing/2014/main" id="{3EE30A50-6C25-44D7-942F-A1D692F5DDE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4001642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51" name="Bildplatzhalter 50">
            <a:extLst>
              <a:ext uri="{FF2B5EF4-FFF2-40B4-BE49-F238E27FC236}">
                <a16:creationId xmlns:a16="http://schemas.microsoft.com/office/drawing/2014/main" id="{4C754E0D-D00D-406A-ABB1-2BC23994F8BF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515796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52" name="Bildplatzhalter 51">
            <a:extLst>
              <a:ext uri="{FF2B5EF4-FFF2-40B4-BE49-F238E27FC236}">
                <a16:creationId xmlns:a16="http://schemas.microsoft.com/office/drawing/2014/main" id="{E86ED2C5-07F4-4D71-ABCD-26E63A679F6E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9031105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51A2BA7-048B-4652-9F13-266927BA0590}"/>
              </a:ext>
            </a:extLst>
          </p:cNvPr>
          <p:cNvSpPr>
            <a:spLocks noGrp="1"/>
          </p:cNvSpPr>
          <p:nvPr>
            <p:ph type="dt" sz="half" idx="27"/>
          </p:nvPr>
        </p:nvSpPr>
        <p:spPr>
          <a:xfrm>
            <a:off x="11160919" y="7065971"/>
            <a:ext cx="457993" cy="101671"/>
          </a:xfrm>
        </p:spPr>
        <p:txBody>
          <a:bodyPr/>
          <a:lstStyle/>
          <a:p>
            <a:pPr algn="r"/>
            <a:fld id="{3510D5C8-165B-46AB-B3BF-190E9D43C26C}" type="datetime1">
              <a:rPr lang="de-DE" smtClean="0"/>
              <a:t>2022-01-1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8EE3B0B-3CCF-427F-AEAB-8D00A76E7729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>
          <a:xfrm>
            <a:off x="8401051" y="7065971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BFF838C-BDC9-42AC-8249-5DDDCE8081A2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>
          <a:xfrm>
            <a:off x="11725538" y="7065971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6" name="Untertitel 2">
            <a:extLst>
              <a:ext uri="{FF2B5EF4-FFF2-40B4-BE49-F238E27FC236}">
                <a16:creationId xmlns:a16="http://schemas.microsoft.com/office/drawing/2014/main" id="{05E0ABBB-6B85-4DD8-AFE0-17595577E65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48" name="Textplatzhalter 8">
            <a:extLst>
              <a:ext uri="{FF2B5EF4-FFF2-40B4-BE49-F238E27FC236}">
                <a16:creationId xmlns:a16="http://schemas.microsoft.com/office/drawing/2014/main" id="{076E981C-747C-4789-BEBC-9FFFDD48A1D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487489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53" name="Textplatzhalter 16">
            <a:extLst>
              <a:ext uri="{FF2B5EF4-FFF2-40B4-BE49-F238E27FC236}">
                <a16:creationId xmlns:a16="http://schemas.microsoft.com/office/drawing/2014/main" id="{B78C76E7-E70A-47C0-B458-99BAA724CAD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1487489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4" name="Textplatzhalter 8">
            <a:extLst>
              <a:ext uri="{FF2B5EF4-FFF2-40B4-BE49-F238E27FC236}">
                <a16:creationId xmlns:a16="http://schemas.microsoft.com/office/drawing/2014/main" id="{B0BE9B6B-88C7-48AA-BE5E-5ABE9128C95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001642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55" name="Textplatzhalter 16">
            <a:extLst>
              <a:ext uri="{FF2B5EF4-FFF2-40B4-BE49-F238E27FC236}">
                <a16:creationId xmlns:a16="http://schemas.microsoft.com/office/drawing/2014/main" id="{E26049C7-2845-4FB3-90F5-9574A388A169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001642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9" name="Textplatzhalter 8">
            <a:extLst>
              <a:ext uri="{FF2B5EF4-FFF2-40B4-BE49-F238E27FC236}">
                <a16:creationId xmlns:a16="http://schemas.microsoft.com/office/drawing/2014/main" id="{84FAB454-88E4-44EE-9463-92927AA8018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515796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60" name="Textplatzhalter 16">
            <a:extLst>
              <a:ext uri="{FF2B5EF4-FFF2-40B4-BE49-F238E27FC236}">
                <a16:creationId xmlns:a16="http://schemas.microsoft.com/office/drawing/2014/main" id="{9F77B410-84CB-48D3-924D-25994EC215EB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515796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1" name="Textplatzhalter 8">
            <a:extLst>
              <a:ext uri="{FF2B5EF4-FFF2-40B4-BE49-F238E27FC236}">
                <a16:creationId xmlns:a16="http://schemas.microsoft.com/office/drawing/2014/main" id="{22C6F66F-ACB0-42BC-92D9-F7593F289F18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031105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4</a:t>
            </a:r>
          </a:p>
        </p:txBody>
      </p:sp>
      <p:sp>
        <p:nvSpPr>
          <p:cNvPr id="62" name="Textplatzhalter 16">
            <a:extLst>
              <a:ext uri="{FF2B5EF4-FFF2-40B4-BE49-F238E27FC236}">
                <a16:creationId xmlns:a16="http://schemas.microsoft.com/office/drawing/2014/main" id="{C97F651B-2DD3-45B9-ABD0-E827EE6AA710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9031105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265906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Freihandform: Form 26">
            <a:extLst>
              <a:ext uri="{FF2B5EF4-FFF2-40B4-BE49-F238E27FC236}">
                <a16:creationId xmlns:a16="http://schemas.microsoft.com/office/drawing/2014/main" id="{F0D4CB0E-8DA6-434C-8431-2770F0D197F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191998 w 12192000"/>
              <a:gd name="connsiteY3" fmla="*/ 6858000 h 6858000"/>
              <a:gd name="connsiteX4" fmla="*/ 12191998 w 12192000"/>
              <a:gd name="connsiteY4" fmla="*/ 3429000 h 6858000"/>
              <a:gd name="connsiteX5" fmla="*/ 8518560 w 12192000"/>
              <a:gd name="connsiteY5" fmla="*/ 3429000 h 6858000"/>
              <a:gd name="connsiteX6" fmla="*/ 7608881 w 12192000"/>
              <a:gd name="connsiteY6" fmla="*/ 4338679 h 6858000"/>
              <a:gd name="connsiteX7" fmla="*/ 7608881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91998" y="6858000"/>
                </a:lnTo>
                <a:lnTo>
                  <a:pt x="12191998" y="3429000"/>
                </a:lnTo>
                <a:lnTo>
                  <a:pt x="8518560" y="3429000"/>
                </a:lnTo>
                <a:cubicBezTo>
                  <a:pt x="8016158" y="3429000"/>
                  <a:pt x="7608881" y="3836277"/>
                  <a:pt x="7608881" y="4338679"/>
                </a:cubicBezTo>
                <a:lnTo>
                  <a:pt x="760888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8" name="Rechteck: eine Ecke abgerundet 27">
            <a:extLst>
              <a:ext uri="{FF2B5EF4-FFF2-40B4-BE49-F238E27FC236}">
                <a16:creationId xmlns:a16="http://schemas.microsoft.com/office/drawing/2014/main" id="{A309E3CC-5A15-4505-A33B-F4367BF50478}"/>
              </a:ext>
            </a:extLst>
          </p:cNvPr>
          <p:cNvSpPr/>
          <p:nvPr userDrawn="1"/>
        </p:nvSpPr>
        <p:spPr>
          <a:xfrm flipH="1">
            <a:off x="7859179" y="3253843"/>
            <a:ext cx="4343397" cy="3614737"/>
          </a:xfrm>
          <a:prstGeom prst="round1Rect">
            <a:avLst>
              <a:gd name="adj" fmla="val 2652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2B06885D-D5DD-40DC-A2A4-AB235E843A95}"/>
              </a:ext>
            </a:extLst>
          </p:cNvPr>
          <p:cNvGrpSpPr/>
          <p:nvPr userDrawn="1"/>
        </p:nvGrpSpPr>
        <p:grpSpPr>
          <a:xfrm>
            <a:off x="1487489" y="1592263"/>
            <a:ext cx="2961647" cy="790184"/>
            <a:chOff x="464743" y="1368699"/>
            <a:chExt cx="2380058" cy="635012"/>
          </a:xfrm>
        </p:grpSpPr>
        <p:sp>
          <p:nvSpPr>
            <p:cNvPr id="30" name="Oval 5">
              <a:extLst>
                <a:ext uri="{FF2B5EF4-FFF2-40B4-BE49-F238E27FC236}">
                  <a16:creationId xmlns:a16="http://schemas.microsoft.com/office/drawing/2014/main" id="{9580770A-3284-4E17-8B2A-730B0255C2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04661837-A7D9-40F6-BF29-101332C98C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3B52F90F-7706-44F7-8023-C9FADBAD09F8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33" name="Freeform 7">
                <a:extLst>
                  <a:ext uri="{FF2B5EF4-FFF2-40B4-BE49-F238E27FC236}">
                    <a16:creationId xmlns:a16="http://schemas.microsoft.com/office/drawing/2014/main" id="{DAF85518-3C28-40C3-8169-575B41E3FF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8">
                <a:extLst>
                  <a:ext uri="{FF2B5EF4-FFF2-40B4-BE49-F238E27FC236}">
                    <a16:creationId xmlns:a16="http://schemas.microsoft.com/office/drawing/2014/main" id="{135463DE-9D9D-4F47-863F-E3572C9A70D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9">
                <a:extLst>
                  <a:ext uri="{FF2B5EF4-FFF2-40B4-BE49-F238E27FC236}">
                    <a16:creationId xmlns:a16="http://schemas.microsoft.com/office/drawing/2014/main" id="{70D927A1-67CD-4B68-A5E0-EDC0FC4211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0">
                <a:extLst>
                  <a:ext uri="{FF2B5EF4-FFF2-40B4-BE49-F238E27FC236}">
                    <a16:creationId xmlns:a16="http://schemas.microsoft.com/office/drawing/2014/main" id="{CCFAD615-9DD7-4130-9847-58EDC00EEB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1">
                <a:extLst>
                  <a:ext uri="{FF2B5EF4-FFF2-40B4-BE49-F238E27FC236}">
                    <a16:creationId xmlns:a16="http://schemas.microsoft.com/office/drawing/2014/main" id="{482FC7A6-7D75-4EE5-BBCF-444F7A7C87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2">
                <a:extLst>
                  <a:ext uri="{FF2B5EF4-FFF2-40B4-BE49-F238E27FC236}">
                    <a16:creationId xmlns:a16="http://schemas.microsoft.com/office/drawing/2014/main" id="{BB81F49F-F441-4637-B438-001B9EDEA23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3">
                <a:extLst>
                  <a:ext uri="{FF2B5EF4-FFF2-40B4-BE49-F238E27FC236}">
                    <a16:creationId xmlns:a16="http://schemas.microsoft.com/office/drawing/2014/main" id="{F3B62D74-6751-4CEA-9410-45108304F2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4">
                <a:extLst>
                  <a:ext uri="{FF2B5EF4-FFF2-40B4-BE49-F238E27FC236}">
                    <a16:creationId xmlns:a16="http://schemas.microsoft.com/office/drawing/2014/main" id="{3047EA05-353C-4E32-98A7-8721494D5D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5">
                <a:extLst>
                  <a:ext uri="{FF2B5EF4-FFF2-40B4-BE49-F238E27FC236}">
                    <a16:creationId xmlns:a16="http://schemas.microsoft.com/office/drawing/2014/main" id="{A9AAA4DE-3176-4AFF-A68E-05E555AC99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3" name="Freeform 16">
                <a:extLst>
                  <a:ext uri="{FF2B5EF4-FFF2-40B4-BE49-F238E27FC236}">
                    <a16:creationId xmlns:a16="http://schemas.microsoft.com/office/drawing/2014/main" id="{3C15F6A8-29EB-4D5C-8A12-121356099F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44" name="Untertitel 2">
            <a:extLst>
              <a:ext uri="{FF2B5EF4-FFF2-40B4-BE49-F238E27FC236}">
                <a16:creationId xmlns:a16="http://schemas.microsoft.com/office/drawing/2014/main" id="{61AE2B7A-25E9-4A5E-9FFD-10CE71373F9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1487488" y="3731319"/>
            <a:ext cx="4608513" cy="555166"/>
          </a:xfrm>
        </p:spPr>
        <p:txBody>
          <a:bodyPr anchor="t"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latin typeface="+mj-lt"/>
              </a:defRPr>
            </a:lvl5pPr>
            <a:lvl6pPr marL="0" indent="0" algn="l">
              <a:buNone/>
              <a:defRPr sz="1600">
                <a:latin typeface="+mj-lt"/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1600">
                <a:latin typeface="+mj-lt"/>
              </a:defRPr>
            </a:lvl8pPr>
            <a:lvl9pPr marL="0" indent="0" algn="l">
              <a:buNone/>
              <a:defRPr sz="1600">
                <a:latin typeface="+mj-lt"/>
              </a:defRPr>
            </a:lvl9pPr>
          </a:lstStyle>
          <a:p>
            <a:pPr lvl="0"/>
            <a:r>
              <a:rPr lang="de-DE"/>
              <a:t>Ansprechpartner</a:t>
            </a:r>
          </a:p>
        </p:txBody>
      </p:sp>
      <p:sp>
        <p:nvSpPr>
          <p:cNvPr id="45" name="Datumsplatzhalter 2">
            <a:extLst>
              <a:ext uri="{FF2B5EF4-FFF2-40B4-BE49-F238E27FC236}">
                <a16:creationId xmlns:a16="http://schemas.microsoft.com/office/drawing/2014/main" id="{1BF12963-66E8-43CB-B587-0CFB1310E1F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160919" y="6991314"/>
            <a:ext cx="457993" cy="101671"/>
          </a:xfrm>
        </p:spPr>
        <p:txBody>
          <a:bodyPr/>
          <a:lstStyle/>
          <a:p>
            <a:pPr algn="r"/>
            <a:fld id="{93B7D593-45D2-417D-98D7-7F06794DD360}" type="datetime1">
              <a:rPr lang="de-DE" smtClean="0"/>
              <a:t>2022-01-13</a:t>
            </a:fld>
            <a:endParaRPr lang="de-DE"/>
          </a:p>
        </p:txBody>
      </p:sp>
      <p:sp>
        <p:nvSpPr>
          <p:cNvPr id="46" name="Fußzeilenplatzhalter 3">
            <a:extLst>
              <a:ext uri="{FF2B5EF4-FFF2-40B4-BE49-F238E27FC236}">
                <a16:creationId xmlns:a16="http://schemas.microsoft.com/office/drawing/2014/main" id="{09F7EFF7-52FF-4102-9EC8-DE3246C08E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401051" y="6991314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47" name="Foliennummernplatzhalter 5">
            <a:extLst>
              <a:ext uri="{FF2B5EF4-FFF2-40B4-BE49-F238E27FC236}">
                <a16:creationId xmlns:a16="http://schemas.microsoft.com/office/drawing/2014/main" id="{E39A23B0-7A22-45D6-BC9A-327391C0B1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25538" y="6991314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8" name="Textfeld 47">
            <a:extLst>
              <a:ext uri="{FF2B5EF4-FFF2-40B4-BE49-F238E27FC236}">
                <a16:creationId xmlns:a16="http://schemas.microsoft.com/office/drawing/2014/main" id="{451A047A-8576-45C1-8C2D-AA9B1C88D960}"/>
              </a:ext>
            </a:extLst>
          </p:cNvPr>
          <p:cNvSpPr txBox="1">
            <a:spLocks/>
          </p:cNvSpPr>
          <p:nvPr userDrawn="1"/>
        </p:nvSpPr>
        <p:spPr>
          <a:xfrm>
            <a:off x="1487489" y="2825750"/>
            <a:ext cx="4608514" cy="1216025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lvl1pPr lvl="0">
              <a:lnSpc>
                <a:spcPct val="80000"/>
              </a:lnSpc>
              <a:spcBef>
                <a:spcPct val="0"/>
              </a:spcBef>
              <a:buNone/>
              <a:defRPr lang="de-DE" sz="5400" baseline="0" dirty="0">
                <a:latin typeface="Officina Sans ITC Pro Medium" panose="020C0606030503020204" pitchFamily="34" charset="0"/>
                <a:ea typeface="Inter Medium" panose="020B0502030000000004" pitchFamily="34" charset="0"/>
              </a:defRPr>
            </a:lvl1pPr>
            <a:lvl2pPr>
              <a:lnSpc>
                <a:spcPct val="80000"/>
              </a:lnSpc>
              <a:defRPr sz="5400" baseline="0">
                <a:latin typeface="+mj-lt"/>
              </a:defRPr>
            </a:lvl2pPr>
            <a:lvl3pPr>
              <a:lnSpc>
                <a:spcPct val="80000"/>
              </a:lnSpc>
              <a:defRPr sz="5400" baseline="0">
                <a:latin typeface="+mj-lt"/>
              </a:defRPr>
            </a:lvl3pPr>
            <a:lvl4pPr>
              <a:lnSpc>
                <a:spcPct val="80000"/>
              </a:lnSpc>
              <a:defRPr sz="5400" b="0" baseline="0">
                <a:latin typeface="+mj-lt"/>
              </a:defRPr>
            </a:lvl4pPr>
            <a:lvl5pPr>
              <a:lnSpc>
                <a:spcPct val="80000"/>
              </a:lnSpc>
              <a:defRPr sz="5400" baseline="0">
                <a:latin typeface="+mj-lt"/>
              </a:defRPr>
            </a:lvl5pPr>
            <a:lvl6pPr>
              <a:lnSpc>
                <a:spcPct val="80000"/>
              </a:lnSpc>
              <a:defRPr sz="5400" baseline="0">
                <a:latin typeface="+mj-lt"/>
              </a:defRPr>
            </a:lvl6pPr>
            <a:lvl7pPr>
              <a:lnSpc>
                <a:spcPct val="80000"/>
              </a:lnSpc>
              <a:defRPr sz="5400" baseline="0">
                <a:latin typeface="+mj-lt"/>
              </a:defRPr>
            </a:lvl7pPr>
            <a:lvl8pPr>
              <a:lnSpc>
                <a:spcPct val="80000"/>
              </a:lnSpc>
              <a:defRPr sz="5400" baseline="0">
                <a:latin typeface="+mj-lt"/>
              </a:defRPr>
            </a:lvl8pPr>
            <a:lvl9pPr>
              <a:lnSpc>
                <a:spcPct val="80000"/>
              </a:lnSpc>
              <a:defRPr sz="5400" baseline="0">
                <a:latin typeface="+mj-lt"/>
              </a:defRPr>
            </a:lvl9pPr>
          </a:lstStyle>
          <a:p>
            <a:pPr lvl="0"/>
            <a:r>
              <a:rPr lang="de-DE" noProof="0"/>
              <a:t>Kontakt</a:t>
            </a:r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C9B75902-53ED-4DCF-9380-3D806E11D1CF}"/>
              </a:ext>
            </a:extLst>
          </p:cNvPr>
          <p:cNvSpPr txBox="1">
            <a:spLocks/>
          </p:cNvSpPr>
          <p:nvPr userDrawn="1"/>
        </p:nvSpPr>
        <p:spPr>
          <a:xfrm>
            <a:off x="1487488" y="4286485"/>
            <a:ext cx="4608513" cy="189275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90000"/>
              <a:buFont typeface="Inter Semi Bold" panose="020B0702030000000004" pitchFamily="34" charset="0"/>
              <a:buNone/>
              <a:defRPr lang="de-DE" sz="1600" b="0" dirty="0">
                <a:latin typeface="+mj-lt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tabLst/>
              <a:defRPr sz="1600" b="0"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defRPr sz="1600" b="0">
                <a:latin typeface="+mj-lt"/>
              </a:defRPr>
            </a:lvl5pPr>
            <a:lvl6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8pPr>
            <a:lvl9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9pPr>
          </a:lstStyle>
          <a:p>
            <a:pPr lvl="0">
              <a:spcAft>
                <a:spcPts val="1200"/>
              </a:spcAft>
            </a:pPr>
            <a:r>
              <a:rPr lang="de-DE" noProof="0" err="1">
                <a:latin typeface="+mn-lt"/>
              </a:rPr>
              <a:t>LichtBlick</a:t>
            </a:r>
            <a:r>
              <a:rPr lang="de-DE" noProof="0">
                <a:latin typeface="+mn-lt"/>
              </a:rPr>
              <a:t> SE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Zirkusweg 6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20359 Hamburg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Telefon: 040-63 60 0</a:t>
            </a:r>
          </a:p>
          <a:p>
            <a:pPr lvl="0"/>
            <a:r>
              <a:rPr lang="de-DE" noProof="0">
                <a:latin typeface="+mn-lt"/>
              </a:rPr>
              <a:t>info@lichtblick.de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www.lichtblick.de</a:t>
            </a:r>
          </a:p>
        </p:txBody>
      </p:sp>
    </p:spTree>
    <p:extLst>
      <p:ext uri="{BB962C8B-B14F-4D97-AF65-F5344CB8AC3E}">
        <p14:creationId xmlns:p14="http://schemas.microsoft.com/office/powerpoint/2010/main" val="1935763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hteck 22">
            <a:extLst>
              <a:ext uri="{FF2B5EF4-FFF2-40B4-BE49-F238E27FC236}">
                <a16:creationId xmlns:a16="http://schemas.microsoft.com/office/drawing/2014/main" id="{0E7B6854-638B-4BA3-B8C0-C2DD0F03782D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26" name="Bildplatzhalter 25">
            <a:extLst>
              <a:ext uri="{FF2B5EF4-FFF2-40B4-BE49-F238E27FC236}">
                <a16:creationId xmlns:a16="http://schemas.microsoft.com/office/drawing/2014/main" id="{53483877-EF50-4218-89F2-F79BFAD83C2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401050 w 12192000"/>
              <a:gd name="connsiteY3" fmla="*/ 6858000 h 6858000"/>
              <a:gd name="connsiteX4" fmla="*/ 8401050 w 12192000"/>
              <a:gd name="connsiteY4" fmla="*/ 3420567 h 6858000"/>
              <a:gd name="connsiteX5" fmla="*/ 7164883 w 12192000"/>
              <a:gd name="connsiteY5" fmla="*/ 2184400 h 6858000"/>
              <a:gd name="connsiteX6" fmla="*/ 0 w 12192000"/>
              <a:gd name="connsiteY6" fmla="*/ 21844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401050" y="6858000"/>
                </a:lnTo>
                <a:lnTo>
                  <a:pt x="8401050" y="3420567"/>
                </a:lnTo>
                <a:cubicBezTo>
                  <a:pt x="8401050" y="2737851"/>
                  <a:pt x="7847599" y="2184400"/>
                  <a:pt x="7164883" y="2184400"/>
                </a:cubicBezTo>
                <a:lnTo>
                  <a:pt x="0" y="218440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49B03EF8-387D-48D9-B22A-1CC400BEFB66}"/>
              </a:ext>
            </a:extLst>
          </p:cNvPr>
          <p:cNvGrpSpPr/>
          <p:nvPr userDrawn="1"/>
        </p:nvGrpSpPr>
        <p:grpSpPr>
          <a:xfrm>
            <a:off x="1487485" y="2887661"/>
            <a:ext cx="1512888" cy="403647"/>
            <a:chOff x="464743" y="1368699"/>
            <a:chExt cx="2380058" cy="635012"/>
          </a:xfrm>
        </p:grpSpPr>
        <p:sp>
          <p:nvSpPr>
            <p:cNvPr id="28" name="Oval 5">
              <a:extLst>
                <a:ext uri="{FF2B5EF4-FFF2-40B4-BE49-F238E27FC236}">
                  <a16:creationId xmlns:a16="http://schemas.microsoft.com/office/drawing/2014/main" id="{1F86FC42-63DF-4B4F-B05E-CA0FDB1312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D7EDA9F3-1D79-472C-8032-70DF6D0D84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3" name="Gruppieren 32">
              <a:extLst>
                <a:ext uri="{FF2B5EF4-FFF2-40B4-BE49-F238E27FC236}">
                  <a16:creationId xmlns:a16="http://schemas.microsoft.com/office/drawing/2014/main" id="{4D68749B-163A-4742-9919-16502779701D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35" name="Freeform 7">
                <a:extLst>
                  <a:ext uri="{FF2B5EF4-FFF2-40B4-BE49-F238E27FC236}">
                    <a16:creationId xmlns:a16="http://schemas.microsoft.com/office/drawing/2014/main" id="{288585EC-19F5-4489-A3BD-1C8044A7AB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8">
                <a:extLst>
                  <a:ext uri="{FF2B5EF4-FFF2-40B4-BE49-F238E27FC236}">
                    <a16:creationId xmlns:a16="http://schemas.microsoft.com/office/drawing/2014/main" id="{2DCFA071-14B5-4E54-A5D1-9D96F24FC22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9">
                <a:extLst>
                  <a:ext uri="{FF2B5EF4-FFF2-40B4-BE49-F238E27FC236}">
                    <a16:creationId xmlns:a16="http://schemas.microsoft.com/office/drawing/2014/main" id="{981A99C0-4EB0-46EB-9C09-6B5A37EB6A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0">
                <a:extLst>
                  <a:ext uri="{FF2B5EF4-FFF2-40B4-BE49-F238E27FC236}">
                    <a16:creationId xmlns:a16="http://schemas.microsoft.com/office/drawing/2014/main" id="{29554CC0-9306-4393-B6DE-5547481410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1">
                <a:extLst>
                  <a:ext uri="{FF2B5EF4-FFF2-40B4-BE49-F238E27FC236}">
                    <a16:creationId xmlns:a16="http://schemas.microsoft.com/office/drawing/2014/main" id="{29E410D9-875F-4F4D-9DD5-B9B872484B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2">
                <a:extLst>
                  <a:ext uri="{FF2B5EF4-FFF2-40B4-BE49-F238E27FC236}">
                    <a16:creationId xmlns:a16="http://schemas.microsoft.com/office/drawing/2014/main" id="{AB183432-001A-4D6E-831F-F73060943D8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3">
                <a:extLst>
                  <a:ext uri="{FF2B5EF4-FFF2-40B4-BE49-F238E27FC236}">
                    <a16:creationId xmlns:a16="http://schemas.microsoft.com/office/drawing/2014/main" id="{8BD54144-F359-4DB4-BF18-728D875B9D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4">
                <a:extLst>
                  <a:ext uri="{FF2B5EF4-FFF2-40B4-BE49-F238E27FC236}">
                    <a16:creationId xmlns:a16="http://schemas.microsoft.com/office/drawing/2014/main" id="{2801A43F-3638-4B4A-9DB1-A6675112EE3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3" name="Freeform 15">
                <a:extLst>
                  <a:ext uri="{FF2B5EF4-FFF2-40B4-BE49-F238E27FC236}">
                    <a16:creationId xmlns:a16="http://schemas.microsoft.com/office/drawing/2014/main" id="{42DD607F-9D04-450D-83A2-9EE16A86B5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4" name="Freeform 16">
                <a:extLst>
                  <a:ext uri="{FF2B5EF4-FFF2-40B4-BE49-F238E27FC236}">
                    <a16:creationId xmlns:a16="http://schemas.microsoft.com/office/drawing/2014/main" id="{FA6E9886-9CDF-4CA7-809D-E845FFB2D1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45" name="Datumsplatzhalter 2">
            <a:extLst>
              <a:ext uri="{FF2B5EF4-FFF2-40B4-BE49-F238E27FC236}">
                <a16:creationId xmlns:a16="http://schemas.microsoft.com/office/drawing/2014/main" id="{1C131CCB-D287-4F99-ACD5-E195B824C2E2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11160919" y="7101333"/>
            <a:ext cx="457993" cy="101671"/>
          </a:xfrm>
        </p:spPr>
        <p:txBody>
          <a:bodyPr/>
          <a:lstStyle/>
          <a:p>
            <a:pPr algn="r"/>
            <a:fld id="{EFB1ADA4-51C3-41E1-9FFF-F2A285B7EF41}" type="datetime1">
              <a:rPr lang="de-DE" smtClean="0"/>
              <a:t>2022-01-13</a:t>
            </a:fld>
            <a:endParaRPr lang="de-DE"/>
          </a:p>
        </p:txBody>
      </p:sp>
      <p:sp>
        <p:nvSpPr>
          <p:cNvPr id="46" name="Fußzeilenplatzhalter 3">
            <a:extLst>
              <a:ext uri="{FF2B5EF4-FFF2-40B4-BE49-F238E27FC236}">
                <a16:creationId xmlns:a16="http://schemas.microsoft.com/office/drawing/2014/main" id="{3379F872-4B4B-4978-9B25-9B4D0BF4FB6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8401051" y="7101333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47" name="Foliennummernplatzhalter 4">
            <a:extLst>
              <a:ext uri="{FF2B5EF4-FFF2-40B4-BE49-F238E27FC236}">
                <a16:creationId xmlns:a16="http://schemas.microsoft.com/office/drawing/2014/main" id="{B9717823-C956-4484-AE3E-A5607602A276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11725538" y="7101333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8" name="Untertitel 2">
            <a:extLst>
              <a:ext uri="{FF2B5EF4-FFF2-40B4-BE49-F238E27FC236}">
                <a16:creationId xmlns:a16="http://schemas.microsoft.com/office/drawing/2014/main" id="{3F5F84D4-57CD-49CF-950C-A85531B76FC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1487485" y="4041776"/>
            <a:ext cx="4608513" cy="555166"/>
          </a:xfrm>
        </p:spPr>
        <p:txBody>
          <a:bodyPr anchor="t"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latin typeface="+mj-lt"/>
              </a:defRPr>
            </a:lvl5pPr>
            <a:lvl6pPr marL="0" indent="0" algn="l">
              <a:buNone/>
              <a:defRPr sz="1600">
                <a:latin typeface="+mj-lt"/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1600">
                <a:latin typeface="+mj-lt"/>
              </a:defRPr>
            </a:lvl8pPr>
            <a:lvl9pPr marL="0" indent="0" algn="l">
              <a:buNone/>
              <a:defRPr sz="1600">
                <a:latin typeface="+mj-lt"/>
              </a:defRPr>
            </a:lvl9pPr>
          </a:lstStyle>
          <a:p>
            <a:pPr lvl="0"/>
            <a:r>
              <a:rPr lang="de-DE"/>
              <a:t>Ansprechpartner</a:t>
            </a:r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D20993E3-363E-4106-B73C-5D0DA46D9068}"/>
              </a:ext>
            </a:extLst>
          </p:cNvPr>
          <p:cNvSpPr txBox="1">
            <a:spLocks/>
          </p:cNvSpPr>
          <p:nvPr userDrawn="1"/>
        </p:nvSpPr>
        <p:spPr>
          <a:xfrm>
            <a:off x="1487486" y="3458633"/>
            <a:ext cx="4608514" cy="58314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lvl1pPr lvl="0">
              <a:lnSpc>
                <a:spcPct val="80000"/>
              </a:lnSpc>
              <a:spcBef>
                <a:spcPct val="0"/>
              </a:spcBef>
              <a:buNone/>
              <a:defRPr lang="de-DE" sz="5400" baseline="0" dirty="0">
                <a:latin typeface="Officina Sans ITC Pro Medium" panose="020C0606030503020204" pitchFamily="34" charset="0"/>
                <a:ea typeface="Inter Medium" panose="020B0502030000000004" pitchFamily="34" charset="0"/>
              </a:defRPr>
            </a:lvl1pPr>
            <a:lvl2pPr>
              <a:lnSpc>
                <a:spcPct val="80000"/>
              </a:lnSpc>
              <a:defRPr sz="5400" baseline="0">
                <a:latin typeface="+mj-lt"/>
              </a:defRPr>
            </a:lvl2pPr>
            <a:lvl3pPr>
              <a:lnSpc>
                <a:spcPct val="80000"/>
              </a:lnSpc>
              <a:defRPr sz="5400" baseline="0">
                <a:latin typeface="+mj-lt"/>
              </a:defRPr>
            </a:lvl3pPr>
            <a:lvl4pPr>
              <a:lnSpc>
                <a:spcPct val="80000"/>
              </a:lnSpc>
              <a:defRPr sz="5400" b="0" baseline="0">
                <a:latin typeface="+mj-lt"/>
              </a:defRPr>
            </a:lvl4pPr>
            <a:lvl5pPr>
              <a:lnSpc>
                <a:spcPct val="80000"/>
              </a:lnSpc>
              <a:defRPr sz="5400" baseline="0">
                <a:latin typeface="+mj-lt"/>
              </a:defRPr>
            </a:lvl5pPr>
            <a:lvl6pPr>
              <a:lnSpc>
                <a:spcPct val="80000"/>
              </a:lnSpc>
              <a:defRPr sz="5400" baseline="0">
                <a:latin typeface="+mj-lt"/>
              </a:defRPr>
            </a:lvl6pPr>
            <a:lvl7pPr>
              <a:lnSpc>
                <a:spcPct val="80000"/>
              </a:lnSpc>
              <a:defRPr sz="5400" baseline="0">
                <a:latin typeface="+mj-lt"/>
              </a:defRPr>
            </a:lvl7pPr>
            <a:lvl8pPr>
              <a:lnSpc>
                <a:spcPct val="80000"/>
              </a:lnSpc>
              <a:defRPr sz="5400" baseline="0">
                <a:latin typeface="+mj-lt"/>
              </a:defRPr>
            </a:lvl8pPr>
            <a:lvl9pPr>
              <a:lnSpc>
                <a:spcPct val="80000"/>
              </a:lnSpc>
              <a:defRPr sz="5400" baseline="0">
                <a:latin typeface="+mj-lt"/>
              </a:defRPr>
            </a:lvl9pPr>
          </a:lstStyle>
          <a:p>
            <a:pPr lvl="0"/>
            <a:r>
              <a:rPr lang="de-DE" noProof="0"/>
              <a:t>Kontakt</a:t>
            </a:r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85CF4727-6E17-4EB8-A7E6-D012B0559DE7}"/>
              </a:ext>
            </a:extLst>
          </p:cNvPr>
          <p:cNvSpPr txBox="1">
            <a:spLocks/>
          </p:cNvSpPr>
          <p:nvPr userDrawn="1"/>
        </p:nvSpPr>
        <p:spPr>
          <a:xfrm>
            <a:off x="1487485" y="4596942"/>
            <a:ext cx="4608513" cy="189275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90000"/>
              <a:buFont typeface="Inter Semi Bold" panose="020B0702030000000004" pitchFamily="34" charset="0"/>
              <a:buNone/>
              <a:defRPr lang="de-DE" sz="1600" b="0" dirty="0">
                <a:latin typeface="+mj-lt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tabLst/>
              <a:defRPr sz="1600" b="0"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defRPr sz="1600" b="0">
                <a:latin typeface="+mj-lt"/>
              </a:defRPr>
            </a:lvl5pPr>
            <a:lvl6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8pPr>
            <a:lvl9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9pPr>
          </a:lstStyle>
          <a:p>
            <a:pPr lvl="0">
              <a:spcAft>
                <a:spcPts val="1200"/>
              </a:spcAft>
            </a:pPr>
            <a:r>
              <a:rPr lang="de-DE" noProof="0" err="1"/>
              <a:t>LichtBlick</a:t>
            </a:r>
            <a:r>
              <a:rPr lang="de-DE" noProof="0"/>
              <a:t> SE</a:t>
            </a:r>
            <a:br>
              <a:rPr lang="de-DE" noProof="0"/>
            </a:br>
            <a:r>
              <a:rPr lang="de-DE" noProof="0"/>
              <a:t>Zirkusweg 6</a:t>
            </a:r>
            <a:br>
              <a:rPr lang="de-DE" noProof="0"/>
            </a:br>
            <a:r>
              <a:rPr lang="de-DE" noProof="0"/>
              <a:t>20359 Hamburg</a:t>
            </a:r>
            <a:br>
              <a:rPr lang="de-DE" noProof="0"/>
            </a:br>
            <a:r>
              <a:rPr lang="de-DE" noProof="0"/>
              <a:t>Telefon: 040-63 60 0</a:t>
            </a:r>
          </a:p>
          <a:p>
            <a:pPr lvl="0"/>
            <a:r>
              <a:rPr lang="de-DE" noProof="0"/>
              <a:t>info@lichtblick.de</a:t>
            </a:r>
            <a:br>
              <a:rPr lang="de-DE" noProof="0"/>
            </a:br>
            <a:r>
              <a:rPr lang="de-DE" noProof="0"/>
              <a:t>www.lichtblick.de</a:t>
            </a:r>
          </a:p>
        </p:txBody>
      </p:sp>
    </p:spTree>
    <p:extLst>
      <p:ext uri="{BB962C8B-B14F-4D97-AF65-F5344CB8AC3E}">
        <p14:creationId xmlns:p14="http://schemas.microsoft.com/office/powerpoint/2010/main" val="3616537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EB1863D8-DB63-4C22-AAA7-72EDC9CB82FD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6EA14A0-3613-4360-88EF-0253BBAD92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ED208F4E-6116-4BE7-8674-657141DAFF32}" type="datetime1">
              <a:rPr lang="de-DE" smtClean="0"/>
              <a:t>2022-01-1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D6DB60C-42BE-40BD-8FF3-383B62B0E6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3053749-1ECC-4AB5-901B-624404F25B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8A1FF1D3-3173-46C3-A244-B65A4C046D40}"/>
              </a:ext>
            </a:extLst>
          </p:cNvPr>
          <p:cNvGrpSpPr/>
          <p:nvPr userDrawn="1"/>
        </p:nvGrpSpPr>
        <p:grpSpPr>
          <a:xfrm>
            <a:off x="10990764" y="364362"/>
            <a:ext cx="867864" cy="231551"/>
            <a:chOff x="464743" y="1368699"/>
            <a:chExt cx="2380058" cy="635012"/>
          </a:xfrm>
        </p:grpSpPr>
        <p:sp>
          <p:nvSpPr>
            <p:cNvPr id="9" name="Oval 5">
              <a:extLst>
                <a:ext uri="{FF2B5EF4-FFF2-40B4-BE49-F238E27FC236}">
                  <a16:creationId xmlns:a16="http://schemas.microsoft.com/office/drawing/2014/main" id="{EDACADA7-20C9-4408-BEAA-E5A9DD1BB5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1908261F-7D21-4331-9B51-D5EA24EADD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1" name="Gruppieren 10">
              <a:extLst>
                <a:ext uri="{FF2B5EF4-FFF2-40B4-BE49-F238E27FC236}">
                  <a16:creationId xmlns:a16="http://schemas.microsoft.com/office/drawing/2014/main" id="{587CD074-2D91-4FBC-9D30-00760237743D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12" name="Freeform 7">
                <a:extLst>
                  <a:ext uri="{FF2B5EF4-FFF2-40B4-BE49-F238E27FC236}">
                    <a16:creationId xmlns:a16="http://schemas.microsoft.com/office/drawing/2014/main" id="{7A8C561C-87CE-45E1-9CFA-9512373D99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3" name="Freeform 8">
                <a:extLst>
                  <a:ext uri="{FF2B5EF4-FFF2-40B4-BE49-F238E27FC236}">
                    <a16:creationId xmlns:a16="http://schemas.microsoft.com/office/drawing/2014/main" id="{72EC9B22-1CF8-4F2A-8E57-58A39ABCA97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4" name="Freeform 9">
                <a:extLst>
                  <a:ext uri="{FF2B5EF4-FFF2-40B4-BE49-F238E27FC236}">
                    <a16:creationId xmlns:a16="http://schemas.microsoft.com/office/drawing/2014/main" id="{AC15ECBF-DF59-45DD-AE5F-B76DA979A4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5" name="Freeform 10">
                <a:extLst>
                  <a:ext uri="{FF2B5EF4-FFF2-40B4-BE49-F238E27FC236}">
                    <a16:creationId xmlns:a16="http://schemas.microsoft.com/office/drawing/2014/main" id="{D73A98C9-6BEB-4661-9643-E74C5A30FA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6" name="Freeform 11">
                <a:extLst>
                  <a:ext uri="{FF2B5EF4-FFF2-40B4-BE49-F238E27FC236}">
                    <a16:creationId xmlns:a16="http://schemas.microsoft.com/office/drawing/2014/main" id="{413BD688-67B3-4777-AE5E-47FB317A07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12">
                <a:extLst>
                  <a:ext uri="{FF2B5EF4-FFF2-40B4-BE49-F238E27FC236}">
                    <a16:creationId xmlns:a16="http://schemas.microsoft.com/office/drawing/2014/main" id="{21D675A5-E087-4E40-92F2-955977DF888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13">
                <a:extLst>
                  <a:ext uri="{FF2B5EF4-FFF2-40B4-BE49-F238E27FC236}">
                    <a16:creationId xmlns:a16="http://schemas.microsoft.com/office/drawing/2014/main" id="{40FB772E-762E-437E-BB51-5DD22DC196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4">
                <a:extLst>
                  <a:ext uri="{FF2B5EF4-FFF2-40B4-BE49-F238E27FC236}">
                    <a16:creationId xmlns:a16="http://schemas.microsoft.com/office/drawing/2014/main" id="{19EF3042-F9D9-42E5-BA79-4A9CD09A5A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5">
                <a:extLst>
                  <a:ext uri="{FF2B5EF4-FFF2-40B4-BE49-F238E27FC236}">
                    <a16:creationId xmlns:a16="http://schemas.microsoft.com/office/drawing/2014/main" id="{EC7CE5F6-A704-449A-BF6A-DEC723415D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6">
                <a:extLst>
                  <a:ext uri="{FF2B5EF4-FFF2-40B4-BE49-F238E27FC236}">
                    <a16:creationId xmlns:a16="http://schemas.microsoft.com/office/drawing/2014/main" id="{BDE56437-557C-4D2A-922C-2208778863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07365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qua_LichtBli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F380F37C-B55F-4B1E-85A9-642BBA4F59BB}"/>
              </a:ext>
            </a:extLst>
          </p:cNvPr>
          <p:cNvGrpSpPr/>
          <p:nvPr userDrawn="1"/>
        </p:nvGrpSpPr>
        <p:grpSpPr bwMode="gray">
          <a:xfrm>
            <a:off x="0" y="0"/>
            <a:ext cx="12192000" cy="6858000"/>
            <a:chOff x="5949952" y="0"/>
            <a:chExt cx="8924928" cy="6858000"/>
          </a:xfrm>
        </p:grpSpPr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51D96DC5-264D-4F98-8B9F-FEF747EDC747}"/>
                </a:ext>
              </a:extLst>
            </p:cNvPr>
            <p:cNvSpPr/>
            <p:nvPr userDrawn="1"/>
          </p:nvSpPr>
          <p:spPr bwMode="gray">
            <a:xfrm>
              <a:off x="5949952" y="0"/>
              <a:ext cx="1487488" cy="6858000"/>
            </a:xfrm>
            <a:prstGeom prst="rect">
              <a:avLst/>
            </a:pr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E33FDE03-4E40-458F-A6DA-F24ECF42F971}"/>
                </a:ext>
              </a:extLst>
            </p:cNvPr>
            <p:cNvSpPr/>
            <p:nvPr userDrawn="1"/>
          </p:nvSpPr>
          <p:spPr bwMode="gray">
            <a:xfrm>
              <a:off x="8924928" y="0"/>
              <a:ext cx="1487488" cy="6858000"/>
            </a:xfrm>
            <a:prstGeom prst="rect">
              <a:avLst/>
            </a:prstGeom>
            <a:solidFill>
              <a:schemeClr val="accent3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DC5EB745-0858-49CC-A0FE-29CBC776FA9E}"/>
                </a:ext>
              </a:extLst>
            </p:cNvPr>
            <p:cNvSpPr/>
            <p:nvPr userDrawn="1"/>
          </p:nvSpPr>
          <p:spPr bwMode="gray">
            <a:xfrm>
              <a:off x="7437440" y="0"/>
              <a:ext cx="1487488" cy="6858000"/>
            </a:xfrm>
            <a:prstGeom prst="rect">
              <a:avLst/>
            </a:prstGeom>
            <a:solidFill>
              <a:schemeClr val="accent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B3533DD8-1C73-4E77-A25E-8DB502C51672}"/>
                </a:ext>
              </a:extLst>
            </p:cNvPr>
            <p:cNvSpPr/>
            <p:nvPr userDrawn="1"/>
          </p:nvSpPr>
          <p:spPr bwMode="gray">
            <a:xfrm>
              <a:off x="10412416" y="0"/>
              <a:ext cx="1487488" cy="6858000"/>
            </a:xfrm>
            <a:prstGeom prst="rect">
              <a:avLst/>
            </a:prstGeom>
            <a:solidFill>
              <a:schemeClr val="accent4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D1547A31-ABF2-495E-9F4B-8DFBF25E488D}"/>
                </a:ext>
              </a:extLst>
            </p:cNvPr>
            <p:cNvSpPr/>
            <p:nvPr userDrawn="1"/>
          </p:nvSpPr>
          <p:spPr bwMode="gray">
            <a:xfrm>
              <a:off x="11899905" y="0"/>
              <a:ext cx="1487488" cy="6858000"/>
            </a:xfrm>
            <a:prstGeom prst="rect">
              <a:avLst/>
            </a:prstGeom>
            <a:solidFill>
              <a:schemeClr val="accent5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3EB218CB-88C3-468E-AF95-E8FE5922C203}"/>
                </a:ext>
              </a:extLst>
            </p:cNvPr>
            <p:cNvSpPr/>
            <p:nvPr userDrawn="1"/>
          </p:nvSpPr>
          <p:spPr bwMode="gray">
            <a:xfrm>
              <a:off x="13387392" y="0"/>
              <a:ext cx="1487488" cy="685800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31" name="Datumsplatzhalter 1">
            <a:extLst>
              <a:ext uri="{FF2B5EF4-FFF2-40B4-BE49-F238E27FC236}">
                <a16:creationId xmlns:a16="http://schemas.microsoft.com/office/drawing/2014/main" id="{1A4D56CF-0343-4911-9D23-19D20CB0D9A9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11160919" y="6491733"/>
            <a:ext cx="457993" cy="101671"/>
          </a:xfrm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r"/>
            <a:fld id="{F1C9CC2F-5397-4AF1-8285-C36F8E1B087C}" type="datetime1">
              <a:rPr lang="de-DE" smtClean="0"/>
              <a:t>2022-01-13</a:t>
            </a:fld>
            <a:endParaRPr lang="de-DE"/>
          </a:p>
        </p:txBody>
      </p:sp>
      <p:sp>
        <p:nvSpPr>
          <p:cNvPr id="32" name="Fußzeilenplatzhalter 5">
            <a:extLst>
              <a:ext uri="{FF2B5EF4-FFF2-40B4-BE49-F238E27FC236}">
                <a16:creationId xmlns:a16="http://schemas.microsoft.com/office/drawing/2014/main" id="{521C6FE0-7BD8-4269-AF19-F3EF4843B3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8401051" y="6491733"/>
            <a:ext cx="2522534" cy="101671"/>
          </a:xfrm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de-DE"/>
              <a:t>Risk Report 2021 M03</a:t>
            </a:r>
          </a:p>
        </p:txBody>
      </p:sp>
      <p:sp>
        <p:nvSpPr>
          <p:cNvPr id="33" name="Foliennummernplatzhalter 6">
            <a:extLst>
              <a:ext uri="{FF2B5EF4-FFF2-40B4-BE49-F238E27FC236}">
                <a16:creationId xmlns:a16="http://schemas.microsoft.com/office/drawing/2014/main" id="{ABB9D1A2-0A49-42C5-96D0-40A3E4DE8F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11725538" y="6491733"/>
            <a:ext cx="191824" cy="101671"/>
          </a:xfrm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29031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Freihandform: Form 33">
            <a:extLst>
              <a:ext uri="{FF2B5EF4-FFF2-40B4-BE49-F238E27FC236}">
                <a16:creationId xmlns:a16="http://schemas.microsoft.com/office/drawing/2014/main" id="{7A88C1D1-625C-4F4E-BECD-5CB70DEB7CC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191998 w 12192000"/>
              <a:gd name="connsiteY3" fmla="*/ 6858000 h 6858000"/>
              <a:gd name="connsiteX4" fmla="*/ 12191998 w 12192000"/>
              <a:gd name="connsiteY4" fmla="*/ 3429000 h 6858000"/>
              <a:gd name="connsiteX5" fmla="*/ 8518560 w 12192000"/>
              <a:gd name="connsiteY5" fmla="*/ 3429000 h 6858000"/>
              <a:gd name="connsiteX6" fmla="*/ 7608881 w 12192000"/>
              <a:gd name="connsiteY6" fmla="*/ 4338679 h 6858000"/>
              <a:gd name="connsiteX7" fmla="*/ 7608881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91998" y="6858000"/>
                </a:lnTo>
                <a:lnTo>
                  <a:pt x="12191998" y="3429000"/>
                </a:lnTo>
                <a:lnTo>
                  <a:pt x="8518560" y="3429000"/>
                </a:lnTo>
                <a:cubicBezTo>
                  <a:pt x="8016158" y="3429000"/>
                  <a:pt x="7608881" y="3836277"/>
                  <a:pt x="7608881" y="4338679"/>
                </a:cubicBezTo>
                <a:lnTo>
                  <a:pt x="760888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226" y="2825750"/>
            <a:ext cx="6337300" cy="1216025"/>
          </a:xfrm>
        </p:spPr>
        <p:txBody>
          <a:bodyPr anchor="t"/>
          <a:lstStyle>
            <a:lvl1pPr>
              <a:lnSpc>
                <a:spcPct val="80000"/>
              </a:lnSpc>
              <a:defRPr sz="5400"/>
            </a:lvl1pPr>
            <a:lvl2pPr>
              <a:lnSpc>
                <a:spcPct val="80000"/>
              </a:lnSpc>
              <a:defRPr sz="5400"/>
            </a:lvl2pPr>
            <a:lvl3pPr>
              <a:lnSpc>
                <a:spcPct val="80000"/>
              </a:lnSpc>
              <a:defRPr sz="5400"/>
            </a:lvl3pPr>
            <a:lvl4pPr>
              <a:lnSpc>
                <a:spcPct val="80000"/>
              </a:lnSpc>
              <a:defRPr sz="5400"/>
            </a:lvl4pPr>
            <a:lvl5pPr>
              <a:lnSpc>
                <a:spcPct val="80000"/>
              </a:lnSpc>
              <a:defRPr sz="5400"/>
            </a:lvl5pPr>
            <a:lvl6pPr>
              <a:lnSpc>
                <a:spcPct val="80000"/>
              </a:lnSpc>
              <a:defRPr sz="5400"/>
            </a:lvl6pPr>
            <a:lvl7pPr>
              <a:lnSpc>
                <a:spcPct val="80000"/>
              </a:lnSpc>
              <a:defRPr sz="5400"/>
            </a:lvl7pPr>
            <a:lvl8pPr>
              <a:lnSpc>
                <a:spcPct val="80000"/>
              </a:lnSpc>
              <a:defRPr sz="5400"/>
            </a:lvl8pPr>
            <a:lvl9pPr>
              <a:lnSpc>
                <a:spcPct val="80000"/>
              </a:lnSpc>
              <a:defRPr sz="5400"/>
            </a:lvl9pPr>
          </a:lstStyle>
          <a:p>
            <a:pPr lvl="0"/>
            <a:r>
              <a:rPr lang="de-DE"/>
              <a:t>Präsentationstitel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16C1E5B9-FEB6-4AA6-BD6B-F927D33B7586}"/>
              </a:ext>
            </a:extLst>
          </p:cNvPr>
          <p:cNvGrpSpPr/>
          <p:nvPr userDrawn="1"/>
        </p:nvGrpSpPr>
        <p:grpSpPr>
          <a:xfrm>
            <a:off x="911225" y="1319215"/>
            <a:ext cx="1439910" cy="384176"/>
            <a:chOff x="464743" y="1368699"/>
            <a:chExt cx="2380058" cy="635012"/>
          </a:xfrm>
        </p:grpSpPr>
        <p:sp>
          <p:nvSpPr>
            <p:cNvPr id="13" name="Oval 5">
              <a:extLst>
                <a:ext uri="{FF2B5EF4-FFF2-40B4-BE49-F238E27FC236}">
                  <a16:creationId xmlns:a16="http://schemas.microsoft.com/office/drawing/2014/main" id="{A63FDF46-9240-4989-8BD0-C8E6ACCDA8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BCEEBEBB-AF39-4FA0-BF2A-C2F67F3089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706779D2-753C-408C-8D8F-2EA69C718621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16" name="Freeform 7">
                <a:extLst>
                  <a:ext uri="{FF2B5EF4-FFF2-40B4-BE49-F238E27FC236}">
                    <a16:creationId xmlns:a16="http://schemas.microsoft.com/office/drawing/2014/main" id="{80064577-26DD-4C45-9CA7-CA84B29940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8">
                <a:extLst>
                  <a:ext uri="{FF2B5EF4-FFF2-40B4-BE49-F238E27FC236}">
                    <a16:creationId xmlns:a16="http://schemas.microsoft.com/office/drawing/2014/main" id="{9D448FEE-A734-446E-B740-78A968A27C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9">
                <a:extLst>
                  <a:ext uri="{FF2B5EF4-FFF2-40B4-BE49-F238E27FC236}">
                    <a16:creationId xmlns:a16="http://schemas.microsoft.com/office/drawing/2014/main" id="{888D8F5D-79D7-4B65-A82D-00FF784BBD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0">
                <a:extLst>
                  <a:ext uri="{FF2B5EF4-FFF2-40B4-BE49-F238E27FC236}">
                    <a16:creationId xmlns:a16="http://schemas.microsoft.com/office/drawing/2014/main" id="{C200D8BD-ED64-4635-B9AE-FBB6DE7A03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1">
                <a:extLst>
                  <a:ext uri="{FF2B5EF4-FFF2-40B4-BE49-F238E27FC236}">
                    <a16:creationId xmlns:a16="http://schemas.microsoft.com/office/drawing/2014/main" id="{4AF606B8-E6F5-4239-AF0E-C3B1CB66F7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2">
                <a:extLst>
                  <a:ext uri="{FF2B5EF4-FFF2-40B4-BE49-F238E27FC236}">
                    <a16:creationId xmlns:a16="http://schemas.microsoft.com/office/drawing/2014/main" id="{4FA34997-3170-4E22-BE0E-39B040570F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3">
                <a:extLst>
                  <a:ext uri="{FF2B5EF4-FFF2-40B4-BE49-F238E27FC236}">
                    <a16:creationId xmlns:a16="http://schemas.microsoft.com/office/drawing/2014/main" id="{E0899F0A-43C2-4A2B-BB23-92FD4E59A0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4">
                <a:extLst>
                  <a:ext uri="{FF2B5EF4-FFF2-40B4-BE49-F238E27FC236}">
                    <a16:creationId xmlns:a16="http://schemas.microsoft.com/office/drawing/2014/main" id="{002B1808-6EF8-43A6-98A3-F218A91060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5">
                <a:extLst>
                  <a:ext uri="{FF2B5EF4-FFF2-40B4-BE49-F238E27FC236}">
                    <a16:creationId xmlns:a16="http://schemas.microsoft.com/office/drawing/2014/main" id="{E469321C-D642-4F96-AE63-CD87201D47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6">
                <a:extLst>
                  <a:ext uri="{FF2B5EF4-FFF2-40B4-BE49-F238E27FC236}">
                    <a16:creationId xmlns:a16="http://schemas.microsoft.com/office/drawing/2014/main" id="{4D226FE2-5036-43B8-8F8D-521582CD79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Textplatzhalter 9">
            <a:extLst>
              <a:ext uri="{FF2B5EF4-FFF2-40B4-BE49-F238E27FC236}">
                <a16:creationId xmlns:a16="http://schemas.microsoft.com/office/drawing/2014/main" id="{A3575644-C415-4736-A0BA-E98385D01B2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85404" y="4483700"/>
            <a:ext cx="4963111" cy="216000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Name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3481B9A9-736B-4492-98F4-CFFBBB93D83D}"/>
              </a:ext>
            </a:extLst>
          </p:cNvPr>
          <p:cNvCxnSpPr>
            <a:cxnSpLocks/>
          </p:cNvCxnSpPr>
          <p:nvPr userDrawn="1"/>
        </p:nvCxnSpPr>
        <p:spPr>
          <a:xfrm>
            <a:off x="2053928" y="4483700"/>
            <a:ext cx="0" cy="17938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hteck: eine Ecke abgerundet 4">
            <a:extLst>
              <a:ext uri="{FF2B5EF4-FFF2-40B4-BE49-F238E27FC236}">
                <a16:creationId xmlns:a16="http://schemas.microsoft.com/office/drawing/2014/main" id="{0BA872EC-5B2E-4929-AD92-88DAB6266A9E}"/>
              </a:ext>
            </a:extLst>
          </p:cNvPr>
          <p:cNvSpPr/>
          <p:nvPr userDrawn="1"/>
        </p:nvSpPr>
        <p:spPr>
          <a:xfrm flipH="1">
            <a:off x="7859179" y="3253843"/>
            <a:ext cx="4343397" cy="3614737"/>
          </a:xfrm>
          <a:prstGeom prst="round1Rect">
            <a:avLst>
              <a:gd name="adj" fmla="val 2652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B75EBC14-2DC1-4EDF-B828-6BD98E3DDCBA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917583" y="4483700"/>
            <a:ext cx="904868" cy="216000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smtClean="0"/>
            </a:lvl1pPr>
          </a:lstStyle>
          <a:p>
            <a:pPr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fld id="{DD3B2F76-4DD6-4D58-ABF5-5582A80ADE24}" type="datetime1">
              <a:rPr lang="de-DE" smtClean="0"/>
              <a:t>2022-01-13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2B6A11DD-5E08-4096-BA7B-A2496C1019C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de-DE"/>
              <a:t>Risk Report 2021 M03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2926201B-F022-402F-AD21-442CBEA104D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36962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5A0E8ACE-F208-4580-9945-A7005B3E229F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34DB811-0D8A-421A-9CDD-47BCA68CAF03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911225" y="6310313"/>
            <a:ext cx="1114412" cy="216000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smtClean="0"/>
            </a:lvl1pPr>
          </a:lstStyle>
          <a:p>
            <a:pPr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fld id="{E1E075DD-53BD-4EA5-BF79-6FFC17B7EE65}" type="datetime1">
              <a:rPr lang="de-DE" smtClean="0"/>
              <a:t>2022-01-13</a:t>
            </a:fld>
            <a:endParaRPr lang="de-DE"/>
          </a:p>
        </p:txBody>
      </p:sp>
      <p:sp>
        <p:nvSpPr>
          <p:cNvPr id="26" name="Bildplatzhalter 25">
            <a:extLst>
              <a:ext uri="{FF2B5EF4-FFF2-40B4-BE49-F238E27FC236}">
                <a16:creationId xmlns:a16="http://schemas.microsoft.com/office/drawing/2014/main" id="{A00D384B-B3AA-4CCF-85B7-8EDB1E746B6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7248524 w 12192000"/>
              <a:gd name="connsiteY3" fmla="*/ 6858000 h 6858000"/>
              <a:gd name="connsiteX4" fmla="*/ 7248524 w 12192000"/>
              <a:gd name="connsiteY4" fmla="*/ 4602507 h 6858000"/>
              <a:gd name="connsiteX5" fmla="*/ 6075018 w 12192000"/>
              <a:gd name="connsiteY5" fmla="*/ 3429000 h 6858000"/>
              <a:gd name="connsiteX6" fmla="*/ 317438 w 12192000"/>
              <a:gd name="connsiteY6" fmla="*/ 3429000 h 6858000"/>
              <a:gd name="connsiteX7" fmla="*/ 6677 w 12192000"/>
              <a:gd name="connsiteY7" fmla="*/ 3429000 h 6858000"/>
              <a:gd name="connsiteX8" fmla="*/ 0 w 12192000"/>
              <a:gd name="connsiteY8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7248524" y="6858000"/>
                </a:lnTo>
                <a:lnTo>
                  <a:pt x="7248524" y="4602507"/>
                </a:lnTo>
                <a:cubicBezTo>
                  <a:pt x="7248524" y="3954397"/>
                  <a:pt x="6723127" y="3429000"/>
                  <a:pt x="6075018" y="3429000"/>
                </a:cubicBezTo>
                <a:lnTo>
                  <a:pt x="317438" y="3429000"/>
                </a:lnTo>
                <a:lnTo>
                  <a:pt x="6677" y="3429000"/>
                </a:lnTo>
                <a:lnTo>
                  <a:pt x="0" y="342900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225" y="4318000"/>
            <a:ext cx="5184775" cy="1673225"/>
          </a:xfrm>
        </p:spPr>
        <p:txBody>
          <a:bodyPr anchor="t"/>
          <a:lstStyle>
            <a:lvl1pPr>
              <a:lnSpc>
                <a:spcPct val="80000"/>
              </a:lnSpc>
              <a:defRPr sz="5400"/>
            </a:lvl1pPr>
            <a:lvl2pPr>
              <a:lnSpc>
                <a:spcPct val="80000"/>
              </a:lnSpc>
              <a:defRPr sz="5400"/>
            </a:lvl2pPr>
            <a:lvl3pPr>
              <a:lnSpc>
                <a:spcPct val="80000"/>
              </a:lnSpc>
              <a:defRPr sz="5400"/>
            </a:lvl3pPr>
            <a:lvl4pPr>
              <a:lnSpc>
                <a:spcPct val="80000"/>
              </a:lnSpc>
              <a:defRPr sz="5400"/>
            </a:lvl4pPr>
            <a:lvl5pPr>
              <a:lnSpc>
                <a:spcPct val="80000"/>
              </a:lnSpc>
              <a:defRPr sz="5400"/>
            </a:lvl5pPr>
            <a:lvl6pPr>
              <a:lnSpc>
                <a:spcPct val="80000"/>
              </a:lnSpc>
              <a:defRPr sz="5400"/>
            </a:lvl6pPr>
            <a:lvl7pPr>
              <a:lnSpc>
                <a:spcPct val="80000"/>
              </a:lnSpc>
              <a:defRPr sz="5400"/>
            </a:lvl7pPr>
            <a:lvl8pPr>
              <a:lnSpc>
                <a:spcPct val="80000"/>
              </a:lnSpc>
              <a:defRPr sz="5400"/>
            </a:lvl8pPr>
            <a:lvl9pPr>
              <a:lnSpc>
                <a:spcPct val="80000"/>
              </a:lnSpc>
              <a:defRPr sz="5400"/>
            </a:lvl9pPr>
          </a:lstStyle>
          <a:p>
            <a:pPr lvl="0"/>
            <a:r>
              <a:rPr lang="de-DE"/>
              <a:t>Präsentations-</a:t>
            </a:r>
            <a:br>
              <a:rPr lang="de-DE"/>
            </a:br>
            <a:r>
              <a:rPr lang="de-DE" err="1"/>
              <a:t>titel</a:t>
            </a:r>
            <a:endParaRPr lang="de-DE"/>
          </a:p>
        </p:txBody>
      </p:sp>
      <p:sp>
        <p:nvSpPr>
          <p:cNvPr id="30" name="Textplatzhalter 9">
            <a:extLst>
              <a:ext uri="{FF2B5EF4-FFF2-40B4-BE49-F238E27FC236}">
                <a16:creationId xmlns:a16="http://schemas.microsoft.com/office/drawing/2014/main" id="{A3575644-C415-4736-A0BA-E98385D01B2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79048" y="6310313"/>
            <a:ext cx="3816952" cy="216000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Sprecher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3481B9A9-736B-4492-98F4-CFFBBB93D83D}"/>
              </a:ext>
            </a:extLst>
          </p:cNvPr>
          <p:cNvCxnSpPr/>
          <p:nvPr userDrawn="1"/>
        </p:nvCxnSpPr>
        <p:spPr>
          <a:xfrm>
            <a:off x="2083772" y="6310313"/>
            <a:ext cx="0" cy="17938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437FBB7-9757-4A42-823D-017F0EC58B9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8401051" y="7075933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7483039-7586-475E-BC6A-3A8359872F8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725538" y="7075933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960630F4-9B55-45DF-825F-C409C8C4862C}"/>
              </a:ext>
            </a:extLst>
          </p:cNvPr>
          <p:cNvGrpSpPr/>
          <p:nvPr userDrawn="1"/>
        </p:nvGrpSpPr>
        <p:grpSpPr>
          <a:xfrm>
            <a:off x="911225" y="3830191"/>
            <a:ext cx="1011508" cy="269876"/>
            <a:chOff x="464743" y="1368699"/>
            <a:chExt cx="2380058" cy="635012"/>
          </a:xfrm>
        </p:grpSpPr>
        <p:sp>
          <p:nvSpPr>
            <p:cNvPr id="28" name="Oval 5">
              <a:extLst>
                <a:ext uri="{FF2B5EF4-FFF2-40B4-BE49-F238E27FC236}">
                  <a16:creationId xmlns:a16="http://schemas.microsoft.com/office/drawing/2014/main" id="{C35C7C36-CB92-44AC-B70C-E764CFAF7C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76FD8F2B-0E6F-4041-893F-F38564957FC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DD16F6EB-D8C5-4769-A757-1355C9129604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33" name="Freeform 7">
                <a:extLst>
                  <a:ext uri="{FF2B5EF4-FFF2-40B4-BE49-F238E27FC236}">
                    <a16:creationId xmlns:a16="http://schemas.microsoft.com/office/drawing/2014/main" id="{E16AF8EA-BAED-4ADB-A064-AAB2A6D772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8">
                <a:extLst>
                  <a:ext uri="{FF2B5EF4-FFF2-40B4-BE49-F238E27FC236}">
                    <a16:creationId xmlns:a16="http://schemas.microsoft.com/office/drawing/2014/main" id="{8A34DC58-A5E5-42EC-82F0-6668CC23F7B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9">
                <a:extLst>
                  <a:ext uri="{FF2B5EF4-FFF2-40B4-BE49-F238E27FC236}">
                    <a16:creationId xmlns:a16="http://schemas.microsoft.com/office/drawing/2014/main" id="{945DBB8B-F08D-4346-BDB9-5874D34099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0">
                <a:extLst>
                  <a:ext uri="{FF2B5EF4-FFF2-40B4-BE49-F238E27FC236}">
                    <a16:creationId xmlns:a16="http://schemas.microsoft.com/office/drawing/2014/main" id="{358F3448-F75C-4B81-84F6-4293F5A6E2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1">
                <a:extLst>
                  <a:ext uri="{FF2B5EF4-FFF2-40B4-BE49-F238E27FC236}">
                    <a16:creationId xmlns:a16="http://schemas.microsoft.com/office/drawing/2014/main" id="{AFDBDFDA-3120-45A7-8904-C391627A0A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2">
                <a:extLst>
                  <a:ext uri="{FF2B5EF4-FFF2-40B4-BE49-F238E27FC236}">
                    <a16:creationId xmlns:a16="http://schemas.microsoft.com/office/drawing/2014/main" id="{43FA59CA-D93C-4178-A594-4A20145B33E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3">
                <a:extLst>
                  <a:ext uri="{FF2B5EF4-FFF2-40B4-BE49-F238E27FC236}">
                    <a16:creationId xmlns:a16="http://schemas.microsoft.com/office/drawing/2014/main" id="{E406306F-CC62-47F1-91A4-27C6591D5A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4">
                <a:extLst>
                  <a:ext uri="{FF2B5EF4-FFF2-40B4-BE49-F238E27FC236}">
                    <a16:creationId xmlns:a16="http://schemas.microsoft.com/office/drawing/2014/main" id="{7A2D090E-58D1-41D0-BF27-A29FA74B30C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5">
                <a:extLst>
                  <a:ext uri="{FF2B5EF4-FFF2-40B4-BE49-F238E27FC236}">
                    <a16:creationId xmlns:a16="http://schemas.microsoft.com/office/drawing/2014/main" id="{96258A70-8CE8-4628-9F59-64111CBC2B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6">
                <a:extLst>
                  <a:ext uri="{FF2B5EF4-FFF2-40B4-BE49-F238E27FC236}">
                    <a16:creationId xmlns:a16="http://schemas.microsoft.com/office/drawing/2014/main" id="{A0AF6C91-3076-42CF-914D-26D1C6407B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71209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folie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43B2B53F-4E76-4B5C-A72C-FAF82D9E2878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75201C21-CEDF-48CA-93BB-DCDE83D534C5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02C52DA6-D781-4567-9964-041EC68B06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220CFDCA-BA3A-42E0-B47F-9245B47DA7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6A0DAE39-70FF-48A6-8E27-8F70D93BDC9D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id="{0044B34A-C2D1-436E-B9BB-E778BCF8C4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4C9B4A84-E50E-4911-B5B2-518AAE16C82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4118E05D-B58E-4583-822E-8E801F1B71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1EFDAA4F-3A46-415B-B805-F62DCCDB31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0190A4D5-1889-4CEE-9622-126BC31DBD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DA77A66D-1283-4A5A-9E1F-9A051D2A2E8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03C6FEEB-6794-4EB2-9610-8A0576ADB8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349A3C5C-A554-4AC4-9892-85FEFE1EABC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E78FD7B2-7ED7-43BD-853B-C6FD3A728F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312FEFA6-7DF0-46EC-BA10-172F3435D8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2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0A241901-4314-4749-BA37-8BFED61F3C7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/>
            <a:fld id="{7C7ADF43-5507-4175-AEE2-2F0DF75F1BFA}" type="datetime1">
              <a:rPr lang="de-DE" smtClean="0"/>
              <a:t>2022-01-13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72963B00-689C-4933-A4CB-D08E8780A83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2C85099F-F1E7-44DA-A203-9C60530ED48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9" name="Untertitel 2">
            <a:extLst>
              <a:ext uri="{FF2B5EF4-FFF2-40B4-BE49-F238E27FC236}">
                <a16:creationId xmlns:a16="http://schemas.microsoft.com/office/drawing/2014/main" id="{DFAD810F-0319-4C39-9937-B53CE8D33BC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302327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reihandform: Form 36">
            <a:extLst>
              <a:ext uri="{FF2B5EF4-FFF2-40B4-BE49-F238E27FC236}">
                <a16:creationId xmlns:a16="http://schemas.microsoft.com/office/drawing/2014/main" id="{5A4CE6BF-C665-428A-8A94-D74142A2F4B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5555456 h 6858000"/>
              <a:gd name="connsiteX3" fmla="*/ 12034223 w 12192000"/>
              <a:gd name="connsiteY3" fmla="*/ 5555456 h 6858000"/>
              <a:gd name="connsiteX4" fmla="*/ 12034202 w 12192000"/>
              <a:gd name="connsiteY4" fmla="*/ 5555455 h 6858000"/>
              <a:gd name="connsiteX5" fmla="*/ 2241392 w 12192000"/>
              <a:gd name="connsiteY5" fmla="*/ 5555455 h 6858000"/>
              <a:gd name="connsiteX6" fmla="*/ 1321594 w 12192000"/>
              <a:gd name="connsiteY6" fmla="*/ 6475253 h 6858000"/>
              <a:gd name="connsiteX7" fmla="*/ 1321594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5555456"/>
                </a:lnTo>
                <a:lnTo>
                  <a:pt x="12034223" y="5555456"/>
                </a:lnTo>
                <a:lnTo>
                  <a:pt x="12034202" y="5555455"/>
                </a:lnTo>
                <a:lnTo>
                  <a:pt x="2241392" y="5555455"/>
                </a:lnTo>
                <a:cubicBezTo>
                  <a:pt x="1733402" y="5555455"/>
                  <a:pt x="1321594" y="5967263"/>
                  <a:pt x="1321594" y="6475253"/>
                </a:cubicBezTo>
                <a:lnTo>
                  <a:pt x="132159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944563"/>
            <a:ext cx="3095625" cy="647698"/>
          </a:xfrm>
        </p:spPr>
        <p:txBody>
          <a:bodyPr anchor="t"/>
          <a:lstStyle>
            <a:lvl1pPr>
              <a:defRPr sz="5400"/>
            </a:lvl1pPr>
            <a:lvl2pPr>
              <a:defRPr sz="5400"/>
            </a:lvl2pPr>
            <a:lvl3pPr>
              <a:defRPr sz="5400"/>
            </a:lvl3pPr>
            <a:lvl4pPr>
              <a:defRPr sz="5400"/>
            </a:lvl4pPr>
            <a:lvl5pPr>
              <a:defRPr sz="5400"/>
            </a:lvl5pPr>
            <a:lvl6pPr>
              <a:defRPr sz="5400"/>
            </a:lvl6pPr>
            <a:lvl7pPr>
              <a:defRPr sz="5400"/>
            </a:lvl7pPr>
            <a:lvl8pPr>
              <a:defRPr sz="5400"/>
            </a:lvl8pPr>
            <a:lvl9pPr>
              <a:defRPr sz="5400"/>
            </a:lvl9pPr>
          </a:lstStyle>
          <a:p>
            <a:pPr lvl="0"/>
            <a:r>
              <a:rPr lang="de-DE"/>
              <a:t>Agenda</a:t>
            </a: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5633BB16-81E2-41BA-8DB1-CB4727975DC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83113" y="1592261"/>
            <a:ext cx="3817937" cy="3673475"/>
          </a:xfrm>
        </p:spPr>
        <p:txBody>
          <a:bodyPr/>
          <a:lstStyle>
            <a:lvl1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Ers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Zwei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Drit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Vier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Fünfte Ebene für Aufzählungen</a:t>
            </a:r>
          </a:p>
          <a:p>
            <a:pPr lvl="0"/>
            <a:r>
              <a:rPr lang="de-DE"/>
              <a:t>Sechste Ebene für Highlights</a:t>
            </a:r>
          </a:p>
        </p:txBody>
      </p:sp>
      <p:sp>
        <p:nvSpPr>
          <p:cNvPr id="19" name="Freihandform: Form 18">
            <a:extLst>
              <a:ext uri="{FF2B5EF4-FFF2-40B4-BE49-F238E27FC236}">
                <a16:creationId xmlns:a16="http://schemas.microsoft.com/office/drawing/2014/main" id="{11506FDE-2E24-408A-9A98-EF162BACC1A3}"/>
              </a:ext>
            </a:extLst>
          </p:cNvPr>
          <p:cNvSpPr/>
          <p:nvPr userDrawn="1"/>
        </p:nvSpPr>
        <p:spPr>
          <a:xfrm flipH="1">
            <a:off x="1498068" y="5376330"/>
            <a:ext cx="10704512" cy="1492250"/>
          </a:xfrm>
          <a:custGeom>
            <a:avLst/>
            <a:gdLst>
              <a:gd name="connsiteX0" fmla="*/ 9783757 w 10704512"/>
              <a:gd name="connsiteY0" fmla="*/ 0 h 1492250"/>
              <a:gd name="connsiteX1" fmla="*/ 0 w 10704512"/>
              <a:gd name="connsiteY1" fmla="*/ 0 h 1492250"/>
              <a:gd name="connsiteX2" fmla="*/ 0 w 10704512"/>
              <a:gd name="connsiteY2" fmla="*/ 1492250 h 1492250"/>
              <a:gd name="connsiteX3" fmla="*/ 10704512 w 10704512"/>
              <a:gd name="connsiteY3" fmla="*/ 1492250 h 1492250"/>
              <a:gd name="connsiteX4" fmla="*/ 10704512 w 10704512"/>
              <a:gd name="connsiteY4" fmla="*/ 920755 h 1492250"/>
              <a:gd name="connsiteX5" fmla="*/ 9783757 w 10704512"/>
              <a:gd name="connsiteY5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704512" h="1492250">
                <a:moveTo>
                  <a:pt x="9783757" y="0"/>
                </a:moveTo>
                <a:lnTo>
                  <a:pt x="0" y="0"/>
                </a:lnTo>
                <a:lnTo>
                  <a:pt x="0" y="1492250"/>
                </a:lnTo>
                <a:lnTo>
                  <a:pt x="10704512" y="1492250"/>
                </a:lnTo>
                <a:lnTo>
                  <a:pt x="10704512" y="920755"/>
                </a:lnTo>
                <a:cubicBezTo>
                  <a:pt x="10704512" y="412236"/>
                  <a:pt x="10292276" y="0"/>
                  <a:pt x="9783757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254916B7-58EF-4F08-A783-46F18118B6C0}"/>
              </a:ext>
            </a:extLst>
          </p:cNvPr>
          <p:cNvGrpSpPr/>
          <p:nvPr userDrawn="1"/>
        </p:nvGrpSpPr>
        <p:grpSpPr>
          <a:xfrm>
            <a:off x="10990764" y="364362"/>
            <a:ext cx="867864" cy="231551"/>
            <a:chOff x="464743" y="1368699"/>
            <a:chExt cx="2380058" cy="635012"/>
          </a:xfrm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9DF83FF6-AFE6-4555-90DE-0D3C163DA0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7AE21AAB-E07B-47DA-AFD0-DEAA3D275A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A56AB8B5-4588-48C1-9C07-75640E26512E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A71BD18E-6C07-411A-9495-8446904F72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8">
                <a:extLst>
                  <a:ext uri="{FF2B5EF4-FFF2-40B4-BE49-F238E27FC236}">
                    <a16:creationId xmlns:a16="http://schemas.microsoft.com/office/drawing/2014/main" id="{26CCEDD4-2516-4002-A7DC-A59BA62F373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9">
                <a:extLst>
                  <a:ext uri="{FF2B5EF4-FFF2-40B4-BE49-F238E27FC236}">
                    <a16:creationId xmlns:a16="http://schemas.microsoft.com/office/drawing/2014/main" id="{DF3B131D-3C13-42E0-9206-E171CCF5B5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0">
                <a:extLst>
                  <a:ext uri="{FF2B5EF4-FFF2-40B4-BE49-F238E27FC236}">
                    <a16:creationId xmlns:a16="http://schemas.microsoft.com/office/drawing/2014/main" id="{CC1A6517-C355-46B0-AAC1-F23094D15D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1">
                <a:extLst>
                  <a:ext uri="{FF2B5EF4-FFF2-40B4-BE49-F238E27FC236}">
                    <a16:creationId xmlns:a16="http://schemas.microsoft.com/office/drawing/2014/main" id="{2D282B2E-2815-47F9-A08C-655F14185C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2">
                <a:extLst>
                  <a:ext uri="{FF2B5EF4-FFF2-40B4-BE49-F238E27FC236}">
                    <a16:creationId xmlns:a16="http://schemas.microsoft.com/office/drawing/2014/main" id="{8966AAB2-499D-4B16-B74F-A313AB8B943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3">
                <a:extLst>
                  <a:ext uri="{FF2B5EF4-FFF2-40B4-BE49-F238E27FC236}">
                    <a16:creationId xmlns:a16="http://schemas.microsoft.com/office/drawing/2014/main" id="{72DAECD8-27D3-4109-A6A0-3CDDC159E5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4">
                <a:extLst>
                  <a:ext uri="{FF2B5EF4-FFF2-40B4-BE49-F238E27FC236}">
                    <a16:creationId xmlns:a16="http://schemas.microsoft.com/office/drawing/2014/main" id="{34080E8D-32B8-4A2B-9398-55858DAB3A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15">
                <a:extLst>
                  <a:ext uri="{FF2B5EF4-FFF2-40B4-BE49-F238E27FC236}">
                    <a16:creationId xmlns:a16="http://schemas.microsoft.com/office/drawing/2014/main" id="{F492BF34-88EE-4DF9-A3FA-1D74A54071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6">
                <a:extLst>
                  <a:ext uri="{FF2B5EF4-FFF2-40B4-BE49-F238E27FC236}">
                    <a16:creationId xmlns:a16="http://schemas.microsoft.com/office/drawing/2014/main" id="{29342A22-C6BD-4A9B-BA64-C9BB74D818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E39C62E-E45B-4DB0-8BDC-ADF35A7DD17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2F1E1578-3816-484B-98E3-C9FBCD8FFFCD}" type="datetime1">
              <a:rPr lang="de-DE" smtClean="0"/>
              <a:t>2022-01-1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2BDBB57-71E2-4418-B351-9C4643F67D8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8D621D8-7D75-456C-87F6-66D9307AC69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16541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folie 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C9247478-3193-499B-A283-D437B7BC3F3A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7F99C6C7-A18A-4D1D-B042-D4DE941638C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-1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4287 w 12192000"/>
              <a:gd name="connsiteY1" fmla="*/ 0 h 6858000"/>
              <a:gd name="connsiteX2" fmla="*/ 731500 w 12192000"/>
              <a:gd name="connsiteY2" fmla="*/ 0 h 6858000"/>
              <a:gd name="connsiteX3" fmla="*/ 12192000 w 12192000"/>
              <a:gd name="connsiteY3" fmla="*/ 0 h 6858000"/>
              <a:gd name="connsiteX4" fmla="*/ 12192000 w 12192000"/>
              <a:gd name="connsiteY4" fmla="*/ 6858000 h 6858000"/>
              <a:gd name="connsiteX5" fmla="*/ 6096000 w 12192000"/>
              <a:gd name="connsiteY5" fmla="*/ 6858000 h 6858000"/>
              <a:gd name="connsiteX6" fmla="*/ 6096000 w 12192000"/>
              <a:gd name="connsiteY6" fmla="*/ 1629422 h 6858000"/>
              <a:gd name="connsiteX7" fmla="*/ 5088684 w 12192000"/>
              <a:gd name="connsiteY7" fmla="*/ 622106 h 6858000"/>
              <a:gd name="connsiteX8" fmla="*/ 731500 w 12192000"/>
              <a:gd name="connsiteY8" fmla="*/ 622106 h 6858000"/>
              <a:gd name="connsiteX9" fmla="*/ 14287 w 12192000"/>
              <a:gd name="connsiteY9" fmla="*/ 622106 h 6858000"/>
              <a:gd name="connsiteX10" fmla="*/ 0 w 12192000"/>
              <a:gd name="connsiteY10" fmla="*/ 62210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4287" y="0"/>
                </a:lnTo>
                <a:lnTo>
                  <a:pt x="731500" y="0"/>
                </a:lnTo>
                <a:lnTo>
                  <a:pt x="12192000" y="0"/>
                </a:lnTo>
                <a:lnTo>
                  <a:pt x="12192000" y="6858000"/>
                </a:lnTo>
                <a:lnTo>
                  <a:pt x="6096000" y="6858000"/>
                </a:lnTo>
                <a:lnTo>
                  <a:pt x="6096000" y="1629422"/>
                </a:lnTo>
                <a:cubicBezTo>
                  <a:pt x="6096000" y="1073097"/>
                  <a:pt x="5645009" y="622106"/>
                  <a:pt x="5088684" y="622106"/>
                </a:cubicBezTo>
                <a:lnTo>
                  <a:pt x="731500" y="622106"/>
                </a:lnTo>
                <a:lnTo>
                  <a:pt x="14287" y="622106"/>
                </a:lnTo>
                <a:lnTo>
                  <a:pt x="0" y="622106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lIns="1800000" tIns="0" bIns="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1592263"/>
            <a:ext cx="3455987" cy="1223962"/>
          </a:xfrm>
        </p:spPr>
        <p:txBody>
          <a:bodyPr anchor="t"/>
          <a:lstStyle>
            <a:lvl1pPr>
              <a:defRPr sz="5400"/>
            </a:lvl1pPr>
            <a:lvl2pPr>
              <a:defRPr sz="5400"/>
            </a:lvl2pPr>
            <a:lvl3pPr>
              <a:defRPr sz="5400"/>
            </a:lvl3pPr>
            <a:lvl4pPr>
              <a:defRPr sz="5400"/>
            </a:lvl4pPr>
            <a:lvl5pPr>
              <a:defRPr sz="5400"/>
            </a:lvl5pPr>
            <a:lvl6pPr>
              <a:defRPr sz="5400"/>
            </a:lvl6pPr>
            <a:lvl7pPr>
              <a:defRPr sz="5400"/>
            </a:lvl7pPr>
            <a:lvl8pPr>
              <a:defRPr sz="5400"/>
            </a:lvl8pPr>
            <a:lvl9pPr>
              <a:defRPr sz="5400"/>
            </a:lvl9pPr>
          </a:lstStyle>
          <a:p>
            <a:pPr lvl="0"/>
            <a:r>
              <a:rPr lang="de-DE"/>
              <a:t>Agenda</a:t>
            </a:r>
          </a:p>
        </p:txBody>
      </p:sp>
      <p:sp>
        <p:nvSpPr>
          <p:cNvPr id="8" name="Textplatzhalter 9">
            <a:extLst>
              <a:ext uri="{FF2B5EF4-FFF2-40B4-BE49-F238E27FC236}">
                <a16:creationId xmlns:a16="http://schemas.microsoft.com/office/drawing/2014/main" id="{85F76B8B-1FC5-4521-AD1F-6A3F92AE390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487488" y="2816225"/>
            <a:ext cx="3455987" cy="3673475"/>
          </a:xfrm>
        </p:spPr>
        <p:txBody>
          <a:bodyPr/>
          <a:lstStyle>
            <a:lvl1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Ers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Zwei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Drit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Vier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Fünfte Ebene für Aufzählungen</a:t>
            </a:r>
          </a:p>
          <a:p>
            <a:pPr lvl="0"/>
            <a:r>
              <a:rPr lang="de-DE"/>
              <a:t>Sechste Ebene für Highlights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C54598E-FC50-496C-9931-8DA549B04D5D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1160919" y="7101333"/>
            <a:ext cx="457993" cy="101671"/>
          </a:xfrm>
        </p:spPr>
        <p:txBody>
          <a:bodyPr/>
          <a:lstStyle/>
          <a:p>
            <a:pPr algn="r"/>
            <a:fld id="{752B98DA-3C64-4A51-8CFE-5063E42C8A01}" type="datetime1">
              <a:rPr lang="de-DE" smtClean="0"/>
              <a:t>2022-01-1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F3E8894-DCFC-4586-95EE-4E7F5B69739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8401051" y="7101333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A36E9F1-F3BA-4241-A2AA-E1B75550C16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725538" y="7101333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4" name="Textplatzhalter 117">
            <a:extLst>
              <a:ext uri="{FF2B5EF4-FFF2-40B4-BE49-F238E27FC236}">
                <a16:creationId xmlns:a16="http://schemas.microsoft.com/office/drawing/2014/main" id="{27728EDC-9F95-41EC-A4B7-522A95BE7C0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24314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ihandform: Form 13">
            <a:extLst>
              <a:ext uri="{FF2B5EF4-FFF2-40B4-BE49-F238E27FC236}">
                <a16:creationId xmlns:a16="http://schemas.microsoft.com/office/drawing/2014/main" id="{072AF896-135A-4A96-A537-178BCF5D84F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0704513 w 12192000"/>
              <a:gd name="connsiteY3" fmla="*/ 6858000 h 6858000"/>
              <a:gd name="connsiteX4" fmla="*/ 10704513 w 12192000"/>
              <a:gd name="connsiteY4" fmla="*/ 2789980 h 6858000"/>
              <a:gd name="connsiteX5" fmla="*/ 9735713 w 12192000"/>
              <a:gd name="connsiteY5" fmla="*/ 1821180 h 6858000"/>
              <a:gd name="connsiteX6" fmla="*/ 0 w 12192000"/>
              <a:gd name="connsiteY6" fmla="*/ 182118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0704513" y="6858000"/>
                </a:lnTo>
                <a:lnTo>
                  <a:pt x="10704513" y="2789980"/>
                </a:lnTo>
                <a:cubicBezTo>
                  <a:pt x="10704513" y="2254927"/>
                  <a:pt x="10270766" y="1821180"/>
                  <a:pt x="9735713" y="1821180"/>
                </a:cubicBezTo>
                <a:lnTo>
                  <a:pt x="0" y="182118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FB9B356D-077B-4EA8-8CD9-172297E20735}"/>
              </a:ext>
            </a:extLst>
          </p:cNvPr>
          <p:cNvSpPr/>
          <p:nvPr userDrawn="1"/>
        </p:nvSpPr>
        <p:spPr>
          <a:xfrm>
            <a:off x="-10580" y="1603901"/>
            <a:ext cx="10892824" cy="5265737"/>
          </a:xfrm>
          <a:custGeom>
            <a:avLst/>
            <a:gdLst>
              <a:gd name="connsiteX0" fmla="*/ 0 w 10892824"/>
              <a:gd name="connsiteY0" fmla="*/ 0 h 5265737"/>
              <a:gd name="connsiteX1" fmla="*/ 9854153 w 10892824"/>
              <a:gd name="connsiteY1" fmla="*/ 0 h 5265737"/>
              <a:gd name="connsiteX2" fmla="*/ 10892824 w 10892824"/>
              <a:gd name="connsiteY2" fmla="*/ 1038671 h 5265737"/>
              <a:gd name="connsiteX3" fmla="*/ 10892824 w 10892824"/>
              <a:gd name="connsiteY3" fmla="*/ 5265737 h 5265737"/>
              <a:gd name="connsiteX4" fmla="*/ 0 w 10892824"/>
              <a:gd name="connsiteY4" fmla="*/ 5265737 h 5265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892824" h="5265737">
                <a:moveTo>
                  <a:pt x="0" y="0"/>
                </a:moveTo>
                <a:lnTo>
                  <a:pt x="9854153" y="0"/>
                </a:lnTo>
                <a:cubicBezTo>
                  <a:pt x="10427795" y="0"/>
                  <a:pt x="10892824" y="465029"/>
                  <a:pt x="10892824" y="1038671"/>
                </a:cubicBezTo>
                <a:lnTo>
                  <a:pt x="10892824" y="5265737"/>
                </a:lnTo>
                <a:lnTo>
                  <a:pt x="0" y="5265737"/>
                </a:ln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CF693C21-4507-4F3E-81F3-C5129BC124FB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0" name="Oval 5">
              <a:extLst>
                <a:ext uri="{FF2B5EF4-FFF2-40B4-BE49-F238E27FC236}">
                  <a16:creationId xmlns:a16="http://schemas.microsoft.com/office/drawing/2014/main" id="{9C338AFF-E703-4949-85EC-CB4644EB8B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id="{252C4243-738B-4049-BDED-CD4B6AA6E6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2" name="Gruppieren 21">
              <a:extLst>
                <a:ext uri="{FF2B5EF4-FFF2-40B4-BE49-F238E27FC236}">
                  <a16:creationId xmlns:a16="http://schemas.microsoft.com/office/drawing/2014/main" id="{5CF87B07-4289-49FF-9D93-5E50076EA829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23" name="Freeform 7">
                <a:extLst>
                  <a:ext uri="{FF2B5EF4-FFF2-40B4-BE49-F238E27FC236}">
                    <a16:creationId xmlns:a16="http://schemas.microsoft.com/office/drawing/2014/main" id="{0B6C66D2-26E8-4D8C-B008-A5821EDA65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8">
                <a:extLst>
                  <a:ext uri="{FF2B5EF4-FFF2-40B4-BE49-F238E27FC236}">
                    <a16:creationId xmlns:a16="http://schemas.microsoft.com/office/drawing/2014/main" id="{2E3DC62B-3FCB-4F68-BE4D-EE46C674CF4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9">
                <a:extLst>
                  <a:ext uri="{FF2B5EF4-FFF2-40B4-BE49-F238E27FC236}">
                    <a16:creationId xmlns:a16="http://schemas.microsoft.com/office/drawing/2014/main" id="{051A77AC-8B30-43FC-8D49-FE6CFBBF28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0">
                <a:extLst>
                  <a:ext uri="{FF2B5EF4-FFF2-40B4-BE49-F238E27FC236}">
                    <a16:creationId xmlns:a16="http://schemas.microsoft.com/office/drawing/2014/main" id="{36558BEF-9E49-44A2-91FA-86FF532E46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1">
                <a:extLst>
                  <a:ext uri="{FF2B5EF4-FFF2-40B4-BE49-F238E27FC236}">
                    <a16:creationId xmlns:a16="http://schemas.microsoft.com/office/drawing/2014/main" id="{8E243C08-9029-4757-B58F-2B10ED5ED7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2">
                <a:extLst>
                  <a:ext uri="{FF2B5EF4-FFF2-40B4-BE49-F238E27FC236}">
                    <a16:creationId xmlns:a16="http://schemas.microsoft.com/office/drawing/2014/main" id="{551DA8B8-ABFE-424A-915B-1F8F10DC4C8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3">
                <a:extLst>
                  <a:ext uri="{FF2B5EF4-FFF2-40B4-BE49-F238E27FC236}">
                    <a16:creationId xmlns:a16="http://schemas.microsoft.com/office/drawing/2014/main" id="{BE56415D-81F1-4E23-80F6-F742A96E6B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4">
                <a:extLst>
                  <a:ext uri="{FF2B5EF4-FFF2-40B4-BE49-F238E27FC236}">
                    <a16:creationId xmlns:a16="http://schemas.microsoft.com/office/drawing/2014/main" id="{0F7D23C0-88E4-43F4-AF63-A90A4D971A9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5">
                <a:extLst>
                  <a:ext uri="{FF2B5EF4-FFF2-40B4-BE49-F238E27FC236}">
                    <a16:creationId xmlns:a16="http://schemas.microsoft.com/office/drawing/2014/main" id="{8104E26D-3B4A-471C-811A-D9D06E67E7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16">
                <a:extLst>
                  <a:ext uri="{FF2B5EF4-FFF2-40B4-BE49-F238E27FC236}">
                    <a16:creationId xmlns:a16="http://schemas.microsoft.com/office/drawing/2014/main" id="{CB8C91E4-CA6C-4E38-B0E9-648EC3A011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EDF9A70-399E-4529-A7DB-A038CFBA646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160919" y="7025133"/>
            <a:ext cx="457993" cy="101671"/>
          </a:xfrm>
        </p:spPr>
        <p:txBody>
          <a:bodyPr/>
          <a:lstStyle/>
          <a:p>
            <a:pPr algn="r"/>
            <a:fld id="{1F2A3D8F-C47E-4865-BB8A-043860727043}" type="datetime1">
              <a:rPr lang="de-DE" smtClean="0"/>
              <a:t>2022-01-1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34C1970-862A-40A2-A410-8A18C19CA5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401051" y="7025133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F3A8B34-701D-49AF-8DAE-5BB05BEE9C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25538" y="7025133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639D86B9-94E0-4C8A-A9A2-B2DD0C8D5E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7" y="3429000"/>
            <a:ext cx="6121401" cy="1836738"/>
          </a:xfr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  <a:lvl2pPr>
              <a:defRPr sz="4000">
                <a:solidFill>
                  <a:schemeClr val="bg1"/>
                </a:solidFill>
              </a:defRPr>
            </a:lvl2pPr>
            <a:lvl3pPr>
              <a:defRPr sz="4000">
                <a:solidFill>
                  <a:schemeClr val="bg1"/>
                </a:solidFill>
              </a:defRPr>
            </a:lvl3pPr>
            <a:lvl4pPr>
              <a:defRPr sz="4000">
                <a:solidFill>
                  <a:schemeClr val="bg1"/>
                </a:solidFill>
              </a:defRPr>
            </a:lvl4pPr>
            <a:lvl5pPr>
              <a:defRPr sz="4000">
                <a:solidFill>
                  <a:schemeClr val="bg1"/>
                </a:solidFill>
              </a:defRPr>
            </a:lvl5pPr>
            <a:lvl6pPr>
              <a:defRPr sz="4000">
                <a:solidFill>
                  <a:schemeClr val="bg1"/>
                </a:solidFill>
              </a:defRPr>
            </a:lvl6pPr>
            <a:lvl7pPr>
              <a:defRPr sz="4000">
                <a:solidFill>
                  <a:schemeClr val="bg1"/>
                </a:solidFill>
              </a:defRPr>
            </a:lvl7pPr>
            <a:lvl8pPr>
              <a:defRPr sz="4000">
                <a:solidFill>
                  <a:schemeClr val="bg1"/>
                </a:solidFill>
              </a:defRPr>
            </a:lvl8pPr>
            <a:lvl9pPr>
              <a:defRPr sz="40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itel für das nächste Kapitel bitte hier einfügen</a:t>
            </a:r>
          </a:p>
        </p:txBody>
      </p:sp>
      <p:sp>
        <p:nvSpPr>
          <p:cNvPr id="28" name="Untertitel 2">
            <a:extLst>
              <a:ext uri="{FF2B5EF4-FFF2-40B4-BE49-F238E27FC236}">
                <a16:creationId xmlns:a16="http://schemas.microsoft.com/office/drawing/2014/main" id="{14C6B305-C6DD-4DD5-B772-1A64FDF8A8CE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1487487" y="5265738"/>
            <a:ext cx="6121401" cy="1225995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solidFill>
                  <a:schemeClr val="bg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5pPr>
            <a:lvl6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6pPr>
            <a:lvl7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7pPr>
            <a:lvl8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8pPr>
            <a:lvl9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47233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D19BAEC9-FD66-4F21-8513-21AE499E07F3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A9CBC99B-E8C6-4051-A9E9-0C624C40229F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11" name="Oval 5">
              <a:extLst>
                <a:ext uri="{FF2B5EF4-FFF2-40B4-BE49-F238E27FC236}">
                  <a16:creationId xmlns:a16="http://schemas.microsoft.com/office/drawing/2014/main" id="{DED38C07-9A75-471C-B61E-C6B17EDCE2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EBAC15C1-136D-42F8-A7B6-CB480B5AA0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3" name="Gruppieren 12">
              <a:extLst>
                <a:ext uri="{FF2B5EF4-FFF2-40B4-BE49-F238E27FC236}">
                  <a16:creationId xmlns:a16="http://schemas.microsoft.com/office/drawing/2014/main" id="{45361738-16C3-40AC-A788-EA9036EDBAFB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14" name="Freeform 7">
                <a:extLst>
                  <a:ext uri="{FF2B5EF4-FFF2-40B4-BE49-F238E27FC236}">
                    <a16:creationId xmlns:a16="http://schemas.microsoft.com/office/drawing/2014/main" id="{0C5DC918-EA52-4FC3-8A01-3388FE6CFA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5" name="Freeform 8">
                <a:extLst>
                  <a:ext uri="{FF2B5EF4-FFF2-40B4-BE49-F238E27FC236}">
                    <a16:creationId xmlns:a16="http://schemas.microsoft.com/office/drawing/2014/main" id="{ABB1E81B-393E-4C03-A0F0-5DA085524AB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6" name="Freeform 9">
                <a:extLst>
                  <a:ext uri="{FF2B5EF4-FFF2-40B4-BE49-F238E27FC236}">
                    <a16:creationId xmlns:a16="http://schemas.microsoft.com/office/drawing/2014/main" id="{7334091F-5E16-47D4-8265-3B46094438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10">
                <a:extLst>
                  <a:ext uri="{FF2B5EF4-FFF2-40B4-BE49-F238E27FC236}">
                    <a16:creationId xmlns:a16="http://schemas.microsoft.com/office/drawing/2014/main" id="{9FF719ED-D4C1-4360-BAB4-26734998B7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11">
                <a:extLst>
                  <a:ext uri="{FF2B5EF4-FFF2-40B4-BE49-F238E27FC236}">
                    <a16:creationId xmlns:a16="http://schemas.microsoft.com/office/drawing/2014/main" id="{B50B74DF-1EDF-4E89-A0F2-3DE62F5024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2">
                <a:extLst>
                  <a:ext uri="{FF2B5EF4-FFF2-40B4-BE49-F238E27FC236}">
                    <a16:creationId xmlns:a16="http://schemas.microsoft.com/office/drawing/2014/main" id="{B5C0C5D5-9E4D-47B8-811F-7E74CC67DAF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3">
                <a:extLst>
                  <a:ext uri="{FF2B5EF4-FFF2-40B4-BE49-F238E27FC236}">
                    <a16:creationId xmlns:a16="http://schemas.microsoft.com/office/drawing/2014/main" id="{D86D4DD4-8682-4840-A450-295468F320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4">
                <a:extLst>
                  <a:ext uri="{FF2B5EF4-FFF2-40B4-BE49-F238E27FC236}">
                    <a16:creationId xmlns:a16="http://schemas.microsoft.com/office/drawing/2014/main" id="{0DDC3BB0-F3F9-4D74-A613-68E6E9CAF43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5">
                <a:extLst>
                  <a:ext uri="{FF2B5EF4-FFF2-40B4-BE49-F238E27FC236}">
                    <a16:creationId xmlns:a16="http://schemas.microsoft.com/office/drawing/2014/main" id="{529D01BE-1D12-43D9-9580-7DD60A4ABC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6">
                <a:extLst>
                  <a:ext uri="{FF2B5EF4-FFF2-40B4-BE49-F238E27FC236}">
                    <a16:creationId xmlns:a16="http://schemas.microsoft.com/office/drawing/2014/main" id="{C99B43FC-7A0B-486C-995F-A1615F010F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" name="Untertitel 2">
            <a:extLst>
              <a:ext uri="{FF2B5EF4-FFF2-40B4-BE49-F238E27FC236}">
                <a16:creationId xmlns:a16="http://schemas.microsoft.com/office/drawing/2014/main" id="{3B2F4070-1FD5-4AA5-814E-B037EDDBD63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7248524" y="3428999"/>
            <a:ext cx="3455989" cy="1836738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latin typeface="+mj-lt"/>
              </a:defRPr>
            </a:lvl5pPr>
            <a:lvl6pPr marL="0" indent="0" algn="l">
              <a:buNone/>
              <a:defRPr sz="1600">
                <a:latin typeface="+mj-lt"/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1600">
                <a:latin typeface="+mj-lt"/>
              </a:defRPr>
            </a:lvl8pPr>
            <a:lvl9pPr marL="0" indent="0" algn="l">
              <a:buNone/>
              <a:defRPr sz="1600"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48524" y="1592263"/>
            <a:ext cx="3455989" cy="1836736"/>
          </a:xfrm>
        </p:spPr>
        <p:txBody>
          <a:bodyPr anchor="t"/>
          <a:lstStyle>
            <a:lvl1pPr>
              <a:defRPr sz="4000"/>
            </a:lvl1pPr>
            <a:lvl2pPr>
              <a:defRPr sz="4000"/>
            </a:lvl2pPr>
            <a:lvl3pPr>
              <a:defRPr sz="4000"/>
            </a:lvl3pPr>
            <a:lvl4pPr>
              <a:defRPr sz="4000"/>
            </a:lvl4pPr>
            <a:lvl5pPr>
              <a:defRPr sz="4000"/>
            </a:lvl5pPr>
            <a:lvl6pPr>
              <a:defRPr sz="4000"/>
            </a:lvl6pPr>
            <a:lvl7pPr>
              <a:defRPr sz="4000"/>
            </a:lvl7pPr>
            <a:lvl8pPr>
              <a:defRPr sz="4000"/>
            </a:lvl8pPr>
            <a:lvl9pPr>
              <a:defRPr sz="4000"/>
            </a:lvl9pPr>
          </a:lstStyle>
          <a:p>
            <a:pPr lvl="0"/>
            <a:r>
              <a:rPr lang="de-DE"/>
              <a:t>Kapitel- </a:t>
            </a:r>
            <a:r>
              <a:rPr lang="de-DE" err="1"/>
              <a:t>überschrift</a:t>
            </a:r>
            <a:endParaRPr lang="de-DE"/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9782B2D3-3015-47F5-901D-035A84A3802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6096000" cy="6223000"/>
          </a:xfrm>
          <a:custGeom>
            <a:avLst/>
            <a:gdLst>
              <a:gd name="connsiteX0" fmla="*/ 0 w 6096000"/>
              <a:gd name="connsiteY0" fmla="*/ 0 h 6223000"/>
              <a:gd name="connsiteX1" fmla="*/ 6096000 w 6096000"/>
              <a:gd name="connsiteY1" fmla="*/ 0 h 6223000"/>
              <a:gd name="connsiteX2" fmla="*/ 6096000 w 6096000"/>
              <a:gd name="connsiteY2" fmla="*/ 5356758 h 6223000"/>
              <a:gd name="connsiteX3" fmla="*/ 5229758 w 6096000"/>
              <a:gd name="connsiteY3" fmla="*/ 6223000 h 6223000"/>
              <a:gd name="connsiteX4" fmla="*/ 0 w 6096000"/>
              <a:gd name="connsiteY4" fmla="*/ 6223000 h 622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223000">
                <a:moveTo>
                  <a:pt x="0" y="0"/>
                </a:moveTo>
                <a:lnTo>
                  <a:pt x="6096000" y="0"/>
                </a:lnTo>
                <a:lnTo>
                  <a:pt x="6096000" y="5356758"/>
                </a:lnTo>
                <a:cubicBezTo>
                  <a:pt x="6096000" y="5835170"/>
                  <a:pt x="5708170" y="6223000"/>
                  <a:pt x="5229758" y="6223000"/>
                </a:cubicBezTo>
                <a:lnTo>
                  <a:pt x="0" y="6223000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470B864-D8FD-472B-9A86-77DCF86B9E6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/>
            <a:fld id="{B18B61D3-BADB-4FF8-B1C1-8ED3638EF9DD}" type="datetime1">
              <a:rPr lang="de-DE" smtClean="0"/>
              <a:t>2022-01-1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C28D540-C8DE-4034-A254-7BB58C165E0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F89D174-75D8-4071-AA9C-8B2BD14EC03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22569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folie Vollbil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13E9D82D-5D08-4FC1-95C5-CD90A0D9356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6B8D83B-3D98-4471-AF20-0C67F30100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2816224"/>
            <a:ext cx="8064500" cy="1841501"/>
          </a:xfr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/>
              <a:t>Zitat </a:t>
            </a:r>
            <a:br>
              <a:rPr lang="de-DE"/>
            </a:br>
            <a:r>
              <a:rPr lang="de-DE"/>
              <a:t>einfüg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4AD187A-8A99-4D06-B785-2C21A941A8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87488" y="4657725"/>
            <a:ext cx="3095625" cy="608013"/>
          </a:xfrm>
        </p:spPr>
        <p:txBody>
          <a:bodyPr anchor="t"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/>
              <a:t>Autor Name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88AA59F2-37D4-43F8-B192-3887B7508CA5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1160919" y="7009500"/>
            <a:ext cx="457993" cy="101671"/>
          </a:xfrm>
        </p:spPr>
        <p:txBody>
          <a:bodyPr/>
          <a:lstStyle/>
          <a:p>
            <a:pPr algn="r"/>
            <a:fld id="{E28D2B21-A7B5-4928-ABF8-D4AFFA2B3F57}" type="datetime1">
              <a:rPr lang="de-DE" smtClean="0"/>
              <a:t>2022-01-13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1EEDA36-86DF-4B36-9DC1-5C5F714BDF4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8401051" y="7009500"/>
            <a:ext cx="2522534" cy="101671"/>
          </a:xfrm>
        </p:spPr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8E83B89D-AEFA-4D2D-8474-085DB9B1468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725538" y="7009500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0" name="Textplatzhalter 117">
            <a:extLst>
              <a:ext uri="{FF2B5EF4-FFF2-40B4-BE49-F238E27FC236}">
                <a16:creationId xmlns:a16="http://schemas.microsoft.com/office/drawing/2014/main" id="{BE357662-367D-4A40-9798-9F75D1A3578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0891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BAD125F8-A201-4843-B9C3-EE473EBCF2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191995 w 12192000"/>
              <a:gd name="connsiteY3" fmla="*/ 6858000 h 6858000"/>
              <a:gd name="connsiteX4" fmla="*/ 12191995 w 12192000"/>
              <a:gd name="connsiteY4" fmla="*/ 6248399 h 6858000"/>
              <a:gd name="connsiteX5" fmla="*/ 1319758 w 12192000"/>
              <a:gd name="connsiteY5" fmla="*/ 6248399 h 6858000"/>
              <a:gd name="connsiteX6" fmla="*/ 418902 w 12192000"/>
              <a:gd name="connsiteY6" fmla="*/ 6727381 h 6858000"/>
              <a:gd name="connsiteX7" fmla="*/ 348004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91995" y="6858000"/>
                </a:lnTo>
                <a:lnTo>
                  <a:pt x="12191995" y="6248399"/>
                </a:lnTo>
                <a:lnTo>
                  <a:pt x="1319758" y="6248399"/>
                </a:lnTo>
                <a:cubicBezTo>
                  <a:pt x="944758" y="6248399"/>
                  <a:pt x="614135" y="6438398"/>
                  <a:pt x="418902" y="6727381"/>
                </a:cubicBezTo>
                <a:lnTo>
                  <a:pt x="34800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2" cy="367347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130E97F4-C217-4BA2-8F72-C0A2F1385488}"/>
              </a:ext>
            </a:extLst>
          </p:cNvPr>
          <p:cNvSpPr/>
          <p:nvPr userDrawn="1"/>
        </p:nvSpPr>
        <p:spPr>
          <a:xfrm flipH="1">
            <a:off x="544131" y="6112552"/>
            <a:ext cx="11658443" cy="756028"/>
          </a:xfrm>
          <a:custGeom>
            <a:avLst/>
            <a:gdLst>
              <a:gd name="connsiteX0" fmla="*/ 10720524 w 11658443"/>
              <a:gd name="connsiteY0" fmla="*/ 0 h 756028"/>
              <a:gd name="connsiteX1" fmla="*/ 0 w 11658443"/>
              <a:gd name="connsiteY1" fmla="*/ 0 h 756028"/>
              <a:gd name="connsiteX2" fmla="*/ 0 w 11658443"/>
              <a:gd name="connsiteY2" fmla="*/ 756028 h 756028"/>
              <a:gd name="connsiteX3" fmla="*/ 11658443 w 11658443"/>
              <a:gd name="connsiteY3" fmla="*/ 756028 h 756028"/>
              <a:gd name="connsiteX4" fmla="*/ 11605940 w 11658443"/>
              <a:gd name="connsiteY4" fmla="*/ 586893 h 756028"/>
              <a:gd name="connsiteX5" fmla="*/ 10720524 w 11658443"/>
              <a:gd name="connsiteY5" fmla="*/ 0 h 756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658443" h="756028">
                <a:moveTo>
                  <a:pt x="10720524" y="0"/>
                </a:moveTo>
                <a:lnTo>
                  <a:pt x="0" y="0"/>
                </a:lnTo>
                <a:lnTo>
                  <a:pt x="0" y="756028"/>
                </a:lnTo>
                <a:lnTo>
                  <a:pt x="11658443" y="756028"/>
                </a:lnTo>
                <a:lnTo>
                  <a:pt x="11605940" y="586893"/>
                </a:lnTo>
                <a:cubicBezTo>
                  <a:pt x="11460063" y="242001"/>
                  <a:pt x="11118555" y="0"/>
                  <a:pt x="10720524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1C8B4150-817E-4B8E-916F-E8B46846C44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5999" y="1592263"/>
            <a:ext cx="4608512" cy="367347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C16F1EDE-07DF-43AB-8A65-661E3310C7DD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6" cy="635012"/>
          </a:xfrm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E1693C54-214A-467B-94D9-3C6EEBB7A9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60FD036F-A46D-4314-8131-39D809908F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4D8268D6-65FC-417B-BB85-D567682934A8}"/>
                </a:ext>
              </a:extLst>
            </p:cNvPr>
            <p:cNvGrpSpPr/>
            <p:nvPr/>
          </p:nvGrpSpPr>
          <p:grpSpPr>
            <a:xfrm>
              <a:off x="1311217" y="1530579"/>
              <a:ext cx="1533582" cy="307590"/>
              <a:chOff x="3987943" y="2307132"/>
              <a:chExt cx="2607166" cy="522910"/>
            </a:xfrm>
          </p:grpSpPr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4172BB35-8858-49CD-96AE-FDCEE59F22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8">
                <a:extLst>
                  <a:ext uri="{FF2B5EF4-FFF2-40B4-BE49-F238E27FC236}">
                    <a16:creationId xmlns:a16="http://schemas.microsoft.com/office/drawing/2014/main" id="{F340F6B4-1EFA-483F-B118-558F6661B57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9">
                <a:extLst>
                  <a:ext uri="{FF2B5EF4-FFF2-40B4-BE49-F238E27FC236}">
                    <a16:creationId xmlns:a16="http://schemas.microsoft.com/office/drawing/2014/main" id="{67E7091C-7DB4-4F54-8BD2-10E16CA708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0">
                <a:extLst>
                  <a:ext uri="{FF2B5EF4-FFF2-40B4-BE49-F238E27FC236}">
                    <a16:creationId xmlns:a16="http://schemas.microsoft.com/office/drawing/2014/main" id="{4AC1E5B1-8B93-4B6A-9CE2-8CE4650B3F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1">
                <a:extLst>
                  <a:ext uri="{FF2B5EF4-FFF2-40B4-BE49-F238E27FC236}">
                    <a16:creationId xmlns:a16="http://schemas.microsoft.com/office/drawing/2014/main" id="{B1F3E871-E4D3-47AC-AB4F-2FD7CE3DC8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9" name="Freeform 12">
                <a:extLst>
                  <a:ext uri="{FF2B5EF4-FFF2-40B4-BE49-F238E27FC236}">
                    <a16:creationId xmlns:a16="http://schemas.microsoft.com/office/drawing/2014/main" id="{CCC5F6CC-254D-4796-85D0-A82C55A1BF6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3">
                <a:extLst>
                  <a:ext uri="{FF2B5EF4-FFF2-40B4-BE49-F238E27FC236}">
                    <a16:creationId xmlns:a16="http://schemas.microsoft.com/office/drawing/2014/main" id="{D01066B0-8E74-4F18-86ED-E60684F2B0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4">
                <a:extLst>
                  <a:ext uri="{FF2B5EF4-FFF2-40B4-BE49-F238E27FC236}">
                    <a16:creationId xmlns:a16="http://schemas.microsoft.com/office/drawing/2014/main" id="{EC483BAE-FA8E-412F-B79A-2DCC30C26BD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5">
                <a:extLst>
                  <a:ext uri="{FF2B5EF4-FFF2-40B4-BE49-F238E27FC236}">
                    <a16:creationId xmlns:a16="http://schemas.microsoft.com/office/drawing/2014/main" id="{EE2F4D82-F828-4479-AF1C-2DCE4FC556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6">
                <a:extLst>
                  <a:ext uri="{FF2B5EF4-FFF2-40B4-BE49-F238E27FC236}">
                    <a16:creationId xmlns:a16="http://schemas.microsoft.com/office/drawing/2014/main" id="{8A1DBB14-E57E-4B1F-A22A-35FA040005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D5F6429-6903-4DFA-8711-34C3DBEF5FF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E8517F8B-AE66-400E-BCA8-63E3314D4750}" type="datetime1">
              <a:rPr lang="de-DE" smtClean="0"/>
              <a:t>2022-01-1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C01C9B1-F32F-4DD5-92C2-59AA306A341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5DA77D9-60AF-4B23-A340-0E478ACD3C0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5" name="Untertitel 2">
            <a:extLst>
              <a:ext uri="{FF2B5EF4-FFF2-40B4-BE49-F238E27FC236}">
                <a16:creationId xmlns:a16="http://schemas.microsoft.com/office/drawing/2014/main" id="{EC4877E5-897F-4F31-B6C0-F68FF3DF5C6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42024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fol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43B2B53F-4E76-4B5C-A72C-FAF82D9E2878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75201C21-CEDF-48CA-93BB-DCDE83D534C5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02C52DA6-D781-4567-9964-041EC68B06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220CFDCA-BA3A-42E0-B47F-9245B47DA7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6A0DAE39-70FF-48A6-8E27-8F70D93BDC9D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id="{0044B34A-C2D1-436E-B9BB-E778BCF8C4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4C9B4A84-E50E-4911-B5B2-518AAE16C82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4118E05D-B58E-4583-822E-8E801F1B71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1EFDAA4F-3A46-415B-B805-F62DCCDB31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0190A4D5-1889-4CEE-9622-126BC31DBD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DA77A66D-1283-4A5A-9E1F-9A051D2A2E8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03C6FEEB-6794-4EB2-9610-8A0576ADB8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349A3C5C-A554-4AC4-9892-85FEFE1EABC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E78FD7B2-7ED7-43BD-853B-C6FD3A728F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312FEFA6-7DF0-46EC-BA10-172F3435D8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2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0A241901-4314-4749-BA37-8BFED61F3C7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/>
            <a:fld id="{815B53F7-5C2C-4730-9998-38D94C4C3231}" type="datetime1">
              <a:rPr lang="de-DE" smtClean="0"/>
              <a:t>2022-01-13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72963B00-689C-4933-A4CB-D08E8780A83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2C85099F-F1E7-44DA-A203-9C60530ED48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9" name="Untertitel 2">
            <a:extLst>
              <a:ext uri="{FF2B5EF4-FFF2-40B4-BE49-F238E27FC236}">
                <a16:creationId xmlns:a16="http://schemas.microsoft.com/office/drawing/2014/main" id="{1DD650F0-E09E-49BE-B253-CB579D56F6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3798862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ild 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hteck 45">
            <a:extLst>
              <a:ext uri="{FF2B5EF4-FFF2-40B4-BE49-F238E27FC236}">
                <a16:creationId xmlns:a16="http://schemas.microsoft.com/office/drawing/2014/main" id="{3D2A4342-772C-454C-9FB8-F488668A682D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6913562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3A90691E-716D-4DE3-BDD9-DFE364F3C8D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8401050" y="0"/>
            <a:ext cx="3790950" cy="5990252"/>
          </a:xfrm>
          <a:custGeom>
            <a:avLst/>
            <a:gdLst>
              <a:gd name="connsiteX0" fmla="*/ 0 w 3790950"/>
              <a:gd name="connsiteY0" fmla="*/ 0 h 5990252"/>
              <a:gd name="connsiteX1" fmla="*/ 3790950 w 3790950"/>
              <a:gd name="connsiteY1" fmla="*/ 0 h 5990252"/>
              <a:gd name="connsiteX2" fmla="*/ 3790950 w 3790950"/>
              <a:gd name="connsiteY2" fmla="*/ 5990252 h 5990252"/>
              <a:gd name="connsiteX3" fmla="*/ 861219 w 3790950"/>
              <a:gd name="connsiteY3" fmla="*/ 5990252 h 5990252"/>
              <a:gd name="connsiteX4" fmla="*/ 0 w 3790950"/>
              <a:gd name="connsiteY4" fmla="*/ 5129033 h 599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90950" h="5990252">
                <a:moveTo>
                  <a:pt x="0" y="0"/>
                </a:moveTo>
                <a:lnTo>
                  <a:pt x="3790950" y="0"/>
                </a:lnTo>
                <a:lnTo>
                  <a:pt x="3790950" y="5990252"/>
                </a:lnTo>
                <a:lnTo>
                  <a:pt x="861219" y="5990252"/>
                </a:lnTo>
                <a:cubicBezTo>
                  <a:pt x="385581" y="5990252"/>
                  <a:pt x="0" y="5604671"/>
                  <a:pt x="0" y="512903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223D12F-5BA2-4212-90D8-C3F2987139E1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 algn="r"/>
            <a:fld id="{2B451810-DD90-4921-9E54-3CD42C449852}" type="datetime1">
              <a:rPr lang="de-DE" smtClean="0"/>
              <a:t>2022-01-1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2B1AFC9-741A-4EC5-8430-DC0E85F28FA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D9EA5FB-BF30-46C2-B765-2D66629D139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platzhalter 117">
            <a:extLst>
              <a:ext uri="{FF2B5EF4-FFF2-40B4-BE49-F238E27FC236}">
                <a16:creationId xmlns:a16="http://schemas.microsoft.com/office/drawing/2014/main" id="{E1B82D6B-28E6-4BDE-BF4D-24E61A53183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B34C0EB0-8DD4-449C-BA9B-AF3E2F5DAD9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4022612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ild 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60CFFCAA-FE4E-4313-92E3-61D46429689A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2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33FA860D-0A1E-41CA-B1A0-2CE3754EDE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096000" y="1"/>
            <a:ext cx="6096000" cy="5990252"/>
          </a:xfrm>
          <a:custGeom>
            <a:avLst/>
            <a:gdLst>
              <a:gd name="connsiteX0" fmla="*/ 0 w 6096000"/>
              <a:gd name="connsiteY0" fmla="*/ 0 h 5990252"/>
              <a:gd name="connsiteX1" fmla="*/ 6096000 w 6096000"/>
              <a:gd name="connsiteY1" fmla="*/ 0 h 5990252"/>
              <a:gd name="connsiteX2" fmla="*/ 6096000 w 6096000"/>
              <a:gd name="connsiteY2" fmla="*/ 5990252 h 5990252"/>
              <a:gd name="connsiteX3" fmla="*/ 861219 w 6096000"/>
              <a:gd name="connsiteY3" fmla="*/ 5990252 h 5990252"/>
              <a:gd name="connsiteX4" fmla="*/ 0 w 6096000"/>
              <a:gd name="connsiteY4" fmla="*/ 5129033 h 599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5990252">
                <a:moveTo>
                  <a:pt x="0" y="0"/>
                </a:moveTo>
                <a:lnTo>
                  <a:pt x="6096000" y="0"/>
                </a:lnTo>
                <a:lnTo>
                  <a:pt x="6096000" y="5990252"/>
                </a:lnTo>
                <a:lnTo>
                  <a:pt x="861219" y="5990252"/>
                </a:lnTo>
                <a:cubicBezTo>
                  <a:pt x="385581" y="5990252"/>
                  <a:pt x="0" y="5604671"/>
                  <a:pt x="0" y="512903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B53A2B0-760E-4033-91D7-8649FC3A050C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7159DCE5-D013-4081-8C15-05EDE76BBE36}" type="datetime1">
              <a:rPr lang="de-DE" smtClean="0"/>
              <a:t>2022-01-1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E991CD1-EC6E-43B8-8B3F-4B3737746BE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D784862-17BF-429A-BCE7-BD798D825FD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platzhalter 117">
            <a:extLst>
              <a:ext uri="{FF2B5EF4-FFF2-40B4-BE49-F238E27FC236}">
                <a16:creationId xmlns:a16="http://schemas.microsoft.com/office/drawing/2014/main" id="{8CA28BF6-CD77-4A2E-A2AD-EB98ED41B5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DCE0F3FC-039B-43D9-A455-6ABFC1882B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557592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ild 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317B55F7-F5B3-46AC-9AB6-55579C09F6E2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2305050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2301875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43E2C865-4F6F-4FFB-9FA5-5FFFFBBB051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792538" y="0"/>
            <a:ext cx="8399462" cy="5990252"/>
          </a:xfrm>
          <a:custGeom>
            <a:avLst/>
            <a:gdLst>
              <a:gd name="connsiteX0" fmla="*/ 0 w 8399462"/>
              <a:gd name="connsiteY0" fmla="*/ 0 h 5990252"/>
              <a:gd name="connsiteX1" fmla="*/ 8399462 w 8399462"/>
              <a:gd name="connsiteY1" fmla="*/ 0 h 5990252"/>
              <a:gd name="connsiteX2" fmla="*/ 8399462 w 8399462"/>
              <a:gd name="connsiteY2" fmla="*/ 5990252 h 5990252"/>
              <a:gd name="connsiteX3" fmla="*/ 861219 w 8399462"/>
              <a:gd name="connsiteY3" fmla="*/ 5990252 h 5990252"/>
              <a:gd name="connsiteX4" fmla="*/ 0 w 8399462"/>
              <a:gd name="connsiteY4" fmla="*/ 5129033 h 599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399462" h="5990252">
                <a:moveTo>
                  <a:pt x="0" y="0"/>
                </a:moveTo>
                <a:lnTo>
                  <a:pt x="8399462" y="0"/>
                </a:lnTo>
                <a:lnTo>
                  <a:pt x="8399462" y="5990252"/>
                </a:lnTo>
                <a:lnTo>
                  <a:pt x="861219" y="5990252"/>
                </a:lnTo>
                <a:cubicBezTo>
                  <a:pt x="385581" y="5990252"/>
                  <a:pt x="0" y="5604671"/>
                  <a:pt x="0" y="512903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B0E5F44-7D73-4948-A7F2-232AB4FF03C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D050815B-BA20-4ACB-B668-B62110F650CE}" type="datetime1">
              <a:rPr lang="de-DE" smtClean="0"/>
              <a:t>2022-01-1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FA77F78-4CC6-4F26-8568-3DB995886CD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Risk Report 2021 M0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1FCC11E2-1CDF-49C5-9FE1-DB63FC68EC2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platzhalter 117">
            <a:extLst>
              <a:ext uri="{FF2B5EF4-FFF2-40B4-BE49-F238E27FC236}">
                <a16:creationId xmlns:a16="http://schemas.microsoft.com/office/drawing/2014/main" id="{E884F540-0080-4436-99F9-12F8A496165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DA948FB6-FC47-446E-A416-A76D90A0FD9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2301875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199179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7.xml"/><Relationship Id="rId26" Type="http://schemas.openxmlformats.org/officeDocument/2006/relationships/slideLayout" Target="../slideLayouts/slideLayout55.xml"/><Relationship Id="rId3" Type="http://schemas.openxmlformats.org/officeDocument/2006/relationships/slideLayout" Target="../slideLayouts/slideLayout32.xml"/><Relationship Id="rId21" Type="http://schemas.openxmlformats.org/officeDocument/2006/relationships/slideLayout" Target="../slideLayouts/slideLayout50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5" Type="http://schemas.openxmlformats.org/officeDocument/2006/relationships/slideLayout" Target="../slideLayouts/slideLayout54.xml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slideLayout" Target="../slideLayouts/slideLayout49.xml"/><Relationship Id="rId29" Type="http://schemas.openxmlformats.org/officeDocument/2006/relationships/slideLayout" Target="../slideLayouts/slideLayout58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24" Type="http://schemas.openxmlformats.org/officeDocument/2006/relationships/slideLayout" Target="../slideLayouts/slideLayout53.xml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23" Type="http://schemas.openxmlformats.org/officeDocument/2006/relationships/slideLayout" Target="../slideLayouts/slideLayout52.xml"/><Relationship Id="rId28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39.xml"/><Relationship Id="rId19" Type="http://schemas.openxmlformats.org/officeDocument/2006/relationships/slideLayout" Target="../slideLayouts/slideLayout48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Relationship Id="rId22" Type="http://schemas.openxmlformats.org/officeDocument/2006/relationships/slideLayout" Target="../slideLayouts/slideLayout51.xml"/><Relationship Id="rId27" Type="http://schemas.openxmlformats.org/officeDocument/2006/relationships/slideLayout" Target="../slideLayouts/slideLayout56.xml"/><Relationship Id="rId30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13" Type="http://schemas.openxmlformats.org/officeDocument/2006/relationships/slideLayout" Target="../slideLayouts/slideLayout71.xml"/><Relationship Id="rId18" Type="http://schemas.openxmlformats.org/officeDocument/2006/relationships/slideLayout" Target="../slideLayouts/slideLayout76.xml"/><Relationship Id="rId26" Type="http://schemas.openxmlformats.org/officeDocument/2006/relationships/slideLayout" Target="../slideLayouts/slideLayout84.xml"/><Relationship Id="rId3" Type="http://schemas.openxmlformats.org/officeDocument/2006/relationships/slideLayout" Target="../slideLayouts/slideLayout61.xml"/><Relationship Id="rId21" Type="http://schemas.openxmlformats.org/officeDocument/2006/relationships/slideLayout" Target="../slideLayouts/slideLayout79.xml"/><Relationship Id="rId7" Type="http://schemas.openxmlformats.org/officeDocument/2006/relationships/slideLayout" Target="../slideLayouts/slideLayout65.xml"/><Relationship Id="rId12" Type="http://schemas.openxmlformats.org/officeDocument/2006/relationships/slideLayout" Target="../slideLayouts/slideLayout70.xml"/><Relationship Id="rId17" Type="http://schemas.openxmlformats.org/officeDocument/2006/relationships/slideLayout" Target="../slideLayouts/slideLayout75.xml"/><Relationship Id="rId25" Type="http://schemas.openxmlformats.org/officeDocument/2006/relationships/slideLayout" Target="../slideLayouts/slideLayout83.xml"/><Relationship Id="rId2" Type="http://schemas.openxmlformats.org/officeDocument/2006/relationships/slideLayout" Target="../slideLayouts/slideLayout60.xml"/><Relationship Id="rId16" Type="http://schemas.openxmlformats.org/officeDocument/2006/relationships/slideLayout" Target="../slideLayouts/slideLayout74.xml"/><Relationship Id="rId20" Type="http://schemas.openxmlformats.org/officeDocument/2006/relationships/slideLayout" Target="../slideLayouts/slideLayout78.xml"/><Relationship Id="rId29" Type="http://schemas.openxmlformats.org/officeDocument/2006/relationships/slideLayout" Target="../slideLayouts/slideLayout87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slideLayout" Target="../slideLayouts/slideLayout69.xml"/><Relationship Id="rId24" Type="http://schemas.openxmlformats.org/officeDocument/2006/relationships/slideLayout" Target="../slideLayouts/slideLayout82.xml"/><Relationship Id="rId5" Type="http://schemas.openxmlformats.org/officeDocument/2006/relationships/slideLayout" Target="../slideLayouts/slideLayout63.xml"/><Relationship Id="rId15" Type="http://schemas.openxmlformats.org/officeDocument/2006/relationships/slideLayout" Target="../slideLayouts/slideLayout73.xml"/><Relationship Id="rId23" Type="http://schemas.openxmlformats.org/officeDocument/2006/relationships/slideLayout" Target="../slideLayouts/slideLayout81.xml"/><Relationship Id="rId28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8.xml"/><Relationship Id="rId19" Type="http://schemas.openxmlformats.org/officeDocument/2006/relationships/slideLayout" Target="../slideLayouts/slideLayout77.xml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Relationship Id="rId14" Type="http://schemas.openxmlformats.org/officeDocument/2006/relationships/slideLayout" Target="../slideLayouts/slideLayout72.xml"/><Relationship Id="rId22" Type="http://schemas.openxmlformats.org/officeDocument/2006/relationships/slideLayout" Target="../slideLayouts/slideLayout80.xml"/><Relationship Id="rId27" Type="http://schemas.openxmlformats.org/officeDocument/2006/relationships/slideLayout" Target="../slideLayouts/slideLayout85.xml"/><Relationship Id="rId30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5.xml"/><Relationship Id="rId13" Type="http://schemas.openxmlformats.org/officeDocument/2006/relationships/slideLayout" Target="../slideLayouts/slideLayout100.xml"/><Relationship Id="rId18" Type="http://schemas.openxmlformats.org/officeDocument/2006/relationships/slideLayout" Target="../slideLayouts/slideLayout105.xml"/><Relationship Id="rId26" Type="http://schemas.openxmlformats.org/officeDocument/2006/relationships/slideLayout" Target="../slideLayouts/slideLayout113.xml"/><Relationship Id="rId3" Type="http://schemas.openxmlformats.org/officeDocument/2006/relationships/slideLayout" Target="../slideLayouts/slideLayout90.xml"/><Relationship Id="rId21" Type="http://schemas.openxmlformats.org/officeDocument/2006/relationships/slideLayout" Target="../slideLayouts/slideLayout108.xml"/><Relationship Id="rId7" Type="http://schemas.openxmlformats.org/officeDocument/2006/relationships/slideLayout" Target="../slideLayouts/slideLayout94.xml"/><Relationship Id="rId12" Type="http://schemas.openxmlformats.org/officeDocument/2006/relationships/slideLayout" Target="../slideLayouts/slideLayout99.xml"/><Relationship Id="rId17" Type="http://schemas.openxmlformats.org/officeDocument/2006/relationships/slideLayout" Target="../slideLayouts/slideLayout104.xml"/><Relationship Id="rId25" Type="http://schemas.openxmlformats.org/officeDocument/2006/relationships/slideLayout" Target="../slideLayouts/slideLayout112.xml"/><Relationship Id="rId2" Type="http://schemas.openxmlformats.org/officeDocument/2006/relationships/slideLayout" Target="../slideLayouts/slideLayout89.xml"/><Relationship Id="rId16" Type="http://schemas.openxmlformats.org/officeDocument/2006/relationships/slideLayout" Target="../slideLayouts/slideLayout103.xml"/><Relationship Id="rId20" Type="http://schemas.openxmlformats.org/officeDocument/2006/relationships/slideLayout" Target="../slideLayouts/slideLayout107.xml"/><Relationship Id="rId29" Type="http://schemas.openxmlformats.org/officeDocument/2006/relationships/slideLayout" Target="../slideLayouts/slideLayout116.xml"/><Relationship Id="rId1" Type="http://schemas.openxmlformats.org/officeDocument/2006/relationships/slideLayout" Target="../slideLayouts/slideLayout88.xml"/><Relationship Id="rId6" Type="http://schemas.openxmlformats.org/officeDocument/2006/relationships/slideLayout" Target="../slideLayouts/slideLayout93.xml"/><Relationship Id="rId11" Type="http://schemas.openxmlformats.org/officeDocument/2006/relationships/slideLayout" Target="../slideLayouts/slideLayout98.xml"/><Relationship Id="rId24" Type="http://schemas.openxmlformats.org/officeDocument/2006/relationships/slideLayout" Target="../slideLayouts/slideLayout111.xml"/><Relationship Id="rId5" Type="http://schemas.openxmlformats.org/officeDocument/2006/relationships/slideLayout" Target="../slideLayouts/slideLayout92.xml"/><Relationship Id="rId15" Type="http://schemas.openxmlformats.org/officeDocument/2006/relationships/slideLayout" Target="../slideLayouts/slideLayout102.xml"/><Relationship Id="rId23" Type="http://schemas.openxmlformats.org/officeDocument/2006/relationships/slideLayout" Target="../slideLayouts/slideLayout110.xml"/><Relationship Id="rId28" Type="http://schemas.openxmlformats.org/officeDocument/2006/relationships/slideLayout" Target="../slideLayouts/slideLayout115.xml"/><Relationship Id="rId10" Type="http://schemas.openxmlformats.org/officeDocument/2006/relationships/slideLayout" Target="../slideLayouts/slideLayout97.xml"/><Relationship Id="rId19" Type="http://schemas.openxmlformats.org/officeDocument/2006/relationships/slideLayout" Target="../slideLayouts/slideLayout106.xml"/><Relationship Id="rId4" Type="http://schemas.openxmlformats.org/officeDocument/2006/relationships/slideLayout" Target="../slideLayouts/slideLayout91.xml"/><Relationship Id="rId9" Type="http://schemas.openxmlformats.org/officeDocument/2006/relationships/slideLayout" Target="../slideLayouts/slideLayout96.xml"/><Relationship Id="rId14" Type="http://schemas.openxmlformats.org/officeDocument/2006/relationships/slideLayout" Target="../slideLayouts/slideLayout101.xml"/><Relationship Id="rId22" Type="http://schemas.openxmlformats.org/officeDocument/2006/relationships/slideLayout" Target="../slideLayouts/slideLayout109.xml"/><Relationship Id="rId27" Type="http://schemas.openxmlformats.org/officeDocument/2006/relationships/slideLayout" Target="../slideLayouts/slideLayout114.xml"/><Relationship Id="rId30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4.xml"/><Relationship Id="rId13" Type="http://schemas.openxmlformats.org/officeDocument/2006/relationships/slideLayout" Target="../slideLayouts/slideLayout129.xml"/><Relationship Id="rId18" Type="http://schemas.openxmlformats.org/officeDocument/2006/relationships/slideLayout" Target="../slideLayouts/slideLayout134.xml"/><Relationship Id="rId26" Type="http://schemas.openxmlformats.org/officeDocument/2006/relationships/slideLayout" Target="../slideLayouts/slideLayout142.xml"/><Relationship Id="rId3" Type="http://schemas.openxmlformats.org/officeDocument/2006/relationships/slideLayout" Target="../slideLayouts/slideLayout119.xml"/><Relationship Id="rId21" Type="http://schemas.openxmlformats.org/officeDocument/2006/relationships/slideLayout" Target="../slideLayouts/slideLayout137.xml"/><Relationship Id="rId7" Type="http://schemas.openxmlformats.org/officeDocument/2006/relationships/slideLayout" Target="../slideLayouts/slideLayout123.xml"/><Relationship Id="rId12" Type="http://schemas.openxmlformats.org/officeDocument/2006/relationships/slideLayout" Target="../slideLayouts/slideLayout128.xml"/><Relationship Id="rId17" Type="http://schemas.openxmlformats.org/officeDocument/2006/relationships/slideLayout" Target="../slideLayouts/slideLayout133.xml"/><Relationship Id="rId25" Type="http://schemas.openxmlformats.org/officeDocument/2006/relationships/slideLayout" Target="../slideLayouts/slideLayout141.xml"/><Relationship Id="rId2" Type="http://schemas.openxmlformats.org/officeDocument/2006/relationships/slideLayout" Target="../slideLayouts/slideLayout118.xml"/><Relationship Id="rId16" Type="http://schemas.openxmlformats.org/officeDocument/2006/relationships/slideLayout" Target="../slideLayouts/slideLayout132.xml"/><Relationship Id="rId20" Type="http://schemas.openxmlformats.org/officeDocument/2006/relationships/slideLayout" Target="../slideLayouts/slideLayout136.xml"/><Relationship Id="rId29" Type="http://schemas.openxmlformats.org/officeDocument/2006/relationships/slideLayout" Target="../slideLayouts/slideLayout145.xml"/><Relationship Id="rId1" Type="http://schemas.openxmlformats.org/officeDocument/2006/relationships/slideLayout" Target="../slideLayouts/slideLayout117.xml"/><Relationship Id="rId6" Type="http://schemas.openxmlformats.org/officeDocument/2006/relationships/slideLayout" Target="../slideLayouts/slideLayout122.xml"/><Relationship Id="rId11" Type="http://schemas.openxmlformats.org/officeDocument/2006/relationships/slideLayout" Target="../slideLayouts/slideLayout127.xml"/><Relationship Id="rId24" Type="http://schemas.openxmlformats.org/officeDocument/2006/relationships/slideLayout" Target="../slideLayouts/slideLayout140.xml"/><Relationship Id="rId5" Type="http://schemas.openxmlformats.org/officeDocument/2006/relationships/slideLayout" Target="../slideLayouts/slideLayout121.xml"/><Relationship Id="rId15" Type="http://schemas.openxmlformats.org/officeDocument/2006/relationships/slideLayout" Target="../slideLayouts/slideLayout131.xml"/><Relationship Id="rId23" Type="http://schemas.openxmlformats.org/officeDocument/2006/relationships/slideLayout" Target="../slideLayouts/slideLayout139.xml"/><Relationship Id="rId28" Type="http://schemas.openxmlformats.org/officeDocument/2006/relationships/slideLayout" Target="../slideLayouts/slideLayout144.xml"/><Relationship Id="rId10" Type="http://schemas.openxmlformats.org/officeDocument/2006/relationships/slideLayout" Target="../slideLayouts/slideLayout126.xml"/><Relationship Id="rId19" Type="http://schemas.openxmlformats.org/officeDocument/2006/relationships/slideLayout" Target="../slideLayouts/slideLayout135.xml"/><Relationship Id="rId4" Type="http://schemas.openxmlformats.org/officeDocument/2006/relationships/slideLayout" Target="../slideLayouts/slideLayout120.xml"/><Relationship Id="rId9" Type="http://schemas.openxmlformats.org/officeDocument/2006/relationships/slideLayout" Target="../slideLayouts/slideLayout125.xml"/><Relationship Id="rId14" Type="http://schemas.openxmlformats.org/officeDocument/2006/relationships/slideLayout" Target="../slideLayouts/slideLayout130.xml"/><Relationship Id="rId22" Type="http://schemas.openxmlformats.org/officeDocument/2006/relationships/slideLayout" Target="../slideLayouts/slideLayout138.xml"/><Relationship Id="rId27" Type="http://schemas.openxmlformats.org/officeDocument/2006/relationships/slideLayout" Target="../slideLayouts/slideLayout143.xml"/><Relationship Id="rId30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58.xml"/><Relationship Id="rId18" Type="http://schemas.openxmlformats.org/officeDocument/2006/relationships/slideLayout" Target="../slideLayouts/slideLayout163.xml"/><Relationship Id="rId26" Type="http://schemas.openxmlformats.org/officeDocument/2006/relationships/slideLayout" Target="../slideLayouts/slideLayout171.xml"/><Relationship Id="rId3" Type="http://schemas.openxmlformats.org/officeDocument/2006/relationships/slideLayout" Target="../slideLayouts/slideLayout148.xml"/><Relationship Id="rId21" Type="http://schemas.openxmlformats.org/officeDocument/2006/relationships/slideLayout" Target="../slideLayouts/slideLayout166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152.xml"/><Relationship Id="rId12" Type="http://schemas.openxmlformats.org/officeDocument/2006/relationships/slideLayout" Target="../slideLayouts/slideLayout157.xml"/><Relationship Id="rId17" Type="http://schemas.openxmlformats.org/officeDocument/2006/relationships/slideLayout" Target="../slideLayouts/slideLayout162.xml"/><Relationship Id="rId25" Type="http://schemas.openxmlformats.org/officeDocument/2006/relationships/slideLayout" Target="../slideLayouts/slideLayout170.xml"/><Relationship Id="rId33" Type="http://schemas.openxmlformats.org/officeDocument/2006/relationships/oleObject" Target="../embeddings/oleObject2.bin"/><Relationship Id="rId2" Type="http://schemas.openxmlformats.org/officeDocument/2006/relationships/slideLayout" Target="../slideLayouts/slideLayout147.xml"/><Relationship Id="rId16" Type="http://schemas.openxmlformats.org/officeDocument/2006/relationships/slideLayout" Target="../slideLayouts/slideLayout161.xml"/><Relationship Id="rId20" Type="http://schemas.openxmlformats.org/officeDocument/2006/relationships/slideLayout" Target="../slideLayouts/slideLayout165.xml"/><Relationship Id="rId29" Type="http://schemas.openxmlformats.org/officeDocument/2006/relationships/slideLayout" Target="../slideLayouts/slideLayout174.xml"/><Relationship Id="rId1" Type="http://schemas.openxmlformats.org/officeDocument/2006/relationships/slideLayout" Target="../slideLayouts/slideLayout146.xml"/><Relationship Id="rId6" Type="http://schemas.openxmlformats.org/officeDocument/2006/relationships/slideLayout" Target="../slideLayouts/slideLayout151.xml"/><Relationship Id="rId11" Type="http://schemas.openxmlformats.org/officeDocument/2006/relationships/slideLayout" Target="../slideLayouts/slideLayout156.xml"/><Relationship Id="rId24" Type="http://schemas.openxmlformats.org/officeDocument/2006/relationships/slideLayout" Target="../slideLayouts/slideLayout169.xml"/><Relationship Id="rId32" Type="http://schemas.openxmlformats.org/officeDocument/2006/relationships/tags" Target="../tags/tag5.xml"/><Relationship Id="rId5" Type="http://schemas.openxmlformats.org/officeDocument/2006/relationships/slideLayout" Target="../slideLayouts/slideLayout150.xml"/><Relationship Id="rId15" Type="http://schemas.openxmlformats.org/officeDocument/2006/relationships/slideLayout" Target="../slideLayouts/slideLayout160.xml"/><Relationship Id="rId23" Type="http://schemas.openxmlformats.org/officeDocument/2006/relationships/slideLayout" Target="../slideLayouts/slideLayout168.xml"/><Relationship Id="rId28" Type="http://schemas.openxmlformats.org/officeDocument/2006/relationships/slideLayout" Target="../slideLayouts/slideLayout173.xml"/><Relationship Id="rId10" Type="http://schemas.openxmlformats.org/officeDocument/2006/relationships/slideLayout" Target="../slideLayouts/slideLayout155.xml"/><Relationship Id="rId19" Type="http://schemas.openxmlformats.org/officeDocument/2006/relationships/slideLayout" Target="../slideLayouts/slideLayout164.xml"/><Relationship Id="rId31" Type="http://schemas.openxmlformats.org/officeDocument/2006/relationships/tags" Target="../tags/tag4.xml"/><Relationship Id="rId4" Type="http://schemas.openxmlformats.org/officeDocument/2006/relationships/slideLayout" Target="../slideLayouts/slideLayout149.xml"/><Relationship Id="rId9" Type="http://schemas.openxmlformats.org/officeDocument/2006/relationships/slideLayout" Target="../slideLayouts/slideLayout154.xml"/><Relationship Id="rId14" Type="http://schemas.openxmlformats.org/officeDocument/2006/relationships/slideLayout" Target="../slideLayouts/slideLayout159.xml"/><Relationship Id="rId22" Type="http://schemas.openxmlformats.org/officeDocument/2006/relationships/slideLayout" Target="../slideLayouts/slideLayout167.xml"/><Relationship Id="rId27" Type="http://schemas.openxmlformats.org/officeDocument/2006/relationships/slideLayout" Target="../slideLayouts/slideLayout172.xml"/><Relationship Id="rId30" Type="http://schemas.openxmlformats.org/officeDocument/2006/relationships/theme" Target="../theme/theme6.xml"/><Relationship Id="rId8" Type="http://schemas.openxmlformats.org/officeDocument/2006/relationships/slideLayout" Target="../slideLayouts/slideLayout15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5CC22B28-D1A3-4258-BEBE-87C642AD2342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38138" y="368300"/>
            <a:ext cx="9213850" cy="25380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lvl="0"/>
            <a:r>
              <a:rPr lang="de-DE"/>
              <a:t>Headlin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7A7899-1176-4714-BFC5-99E4DB99A754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38138" y="1592263"/>
            <a:ext cx="6910386" cy="46815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Erste Ebene für Fließtext (</a:t>
            </a:r>
            <a:r>
              <a:rPr lang="de-DE" err="1"/>
              <a:t>Inter</a:t>
            </a:r>
            <a:r>
              <a:rPr lang="de-DE"/>
              <a:t>, 12 </a:t>
            </a:r>
            <a:r>
              <a:rPr lang="de-DE" err="1"/>
              <a:t>pt</a:t>
            </a:r>
            <a:r>
              <a:rPr lang="de-DE"/>
              <a:t>, schwarz)</a:t>
            </a:r>
          </a:p>
          <a:p>
            <a:pPr lvl="1"/>
            <a:r>
              <a:rPr lang="de-DE"/>
              <a:t>Zweite Ebene für Fettungen/Hervorhebungen (</a:t>
            </a:r>
            <a:r>
              <a:rPr lang="de-DE" err="1"/>
              <a:t>Inter</a:t>
            </a:r>
            <a:r>
              <a:rPr lang="de-DE"/>
              <a:t> </a:t>
            </a:r>
            <a:r>
              <a:rPr lang="de-DE" err="1"/>
              <a:t>Semi</a:t>
            </a:r>
            <a:r>
              <a:rPr lang="de-DE"/>
              <a:t> </a:t>
            </a:r>
            <a:r>
              <a:rPr lang="de-DE" err="1"/>
              <a:t>Bold</a:t>
            </a:r>
            <a:r>
              <a:rPr lang="de-DE"/>
              <a:t>, 12pt, schwarz)</a:t>
            </a:r>
          </a:p>
          <a:p>
            <a:pPr lvl="2"/>
            <a:r>
              <a:rPr lang="de-DE"/>
              <a:t>Dritte Ebene für Bullet Points</a:t>
            </a:r>
          </a:p>
          <a:p>
            <a:pPr lvl="3"/>
            <a:r>
              <a:rPr lang="de-DE"/>
              <a:t>Vierte Ebene für Aufzählungen</a:t>
            </a:r>
          </a:p>
          <a:p>
            <a:pPr lvl="4"/>
            <a:r>
              <a:rPr lang="de-DE"/>
              <a:t>Fünfte Ebene für Aufzählungen</a:t>
            </a:r>
          </a:p>
          <a:p>
            <a:pPr lvl="5"/>
            <a:r>
              <a:rPr lang="de-DE"/>
              <a:t>Sechste Ebene für Highlights (</a:t>
            </a:r>
            <a:r>
              <a:rPr lang="de-DE" err="1"/>
              <a:t>Inter</a:t>
            </a:r>
            <a:r>
              <a:rPr lang="de-DE"/>
              <a:t> </a:t>
            </a:r>
            <a:r>
              <a:rPr lang="de-DE" err="1"/>
              <a:t>Semi</a:t>
            </a:r>
            <a:r>
              <a:rPr lang="de-DE"/>
              <a:t> </a:t>
            </a:r>
            <a:r>
              <a:rPr lang="de-DE" err="1"/>
              <a:t>Bold</a:t>
            </a:r>
            <a:r>
              <a:rPr lang="de-DE"/>
              <a:t>, 16pt, schwarz)</a:t>
            </a:r>
          </a:p>
          <a:p>
            <a:pPr lvl="6"/>
            <a:r>
              <a:rPr lang="de-DE"/>
              <a:t>Siebte Ebene für Highlights (</a:t>
            </a:r>
            <a:r>
              <a:rPr lang="de-DE" err="1"/>
              <a:t>Inter</a:t>
            </a:r>
            <a:r>
              <a:rPr lang="de-DE"/>
              <a:t> </a:t>
            </a:r>
            <a:r>
              <a:rPr lang="de-DE" err="1"/>
              <a:t>Semi</a:t>
            </a:r>
            <a:r>
              <a:rPr lang="de-DE"/>
              <a:t> </a:t>
            </a:r>
            <a:r>
              <a:rPr lang="de-DE" err="1"/>
              <a:t>Bold</a:t>
            </a:r>
            <a:r>
              <a:rPr lang="de-DE"/>
              <a:t>, 16pt, </a:t>
            </a:r>
            <a:r>
              <a:rPr lang="de-DE" err="1"/>
              <a:t>Highlightfarbe</a:t>
            </a:r>
            <a:r>
              <a:rPr lang="de-DE"/>
              <a:t>)</a:t>
            </a:r>
          </a:p>
          <a:p>
            <a:pPr lvl="7"/>
            <a:r>
              <a:rPr lang="de-DE"/>
              <a:t>Achte Ebene für Diagramm und Bildlegenden (</a:t>
            </a:r>
            <a:r>
              <a:rPr lang="de-DE" err="1"/>
              <a:t>Inter</a:t>
            </a:r>
            <a:r>
              <a:rPr lang="de-DE"/>
              <a:t>, 10pt, schwarz)</a:t>
            </a:r>
          </a:p>
          <a:p>
            <a:pPr lvl="8"/>
            <a:r>
              <a:rPr lang="de-DE"/>
              <a:t>Neunte Ebene (</a:t>
            </a:r>
            <a:r>
              <a:rPr lang="de-DE" err="1"/>
              <a:t>Inter</a:t>
            </a:r>
            <a:r>
              <a:rPr lang="de-DE"/>
              <a:t>, 10pt, schwarz)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9E6ADEB-3EA6-4FEA-9F5A-2E6A8A33C6A6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1160919" y="6491733"/>
            <a:ext cx="457993" cy="101671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fld id="{7E566EB5-8EB8-42B3-8D6B-CA69D36F93D5}" type="datetime1">
              <a:rPr lang="de-DE" smtClean="0"/>
              <a:t>2022-01-1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C251B0C-0232-4145-8300-5B5D4ADF23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8401051" y="6491733"/>
            <a:ext cx="2522534" cy="101671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6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44938F2-A076-4BF9-B690-BCB3E75B62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725538" y="6491733"/>
            <a:ext cx="191824" cy="101671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</a:lstStyle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4017B64D-C976-4728-A95B-0361BA6A9F0D}"/>
              </a:ext>
            </a:extLst>
          </p:cNvPr>
          <p:cNvCxnSpPr/>
          <p:nvPr/>
        </p:nvCxnSpPr>
        <p:spPr>
          <a:xfrm>
            <a:off x="334963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D9A3A56F-06AD-4760-9043-8DB8B80BE502}"/>
              </a:ext>
            </a:extLst>
          </p:cNvPr>
          <p:cNvCxnSpPr/>
          <p:nvPr/>
        </p:nvCxnSpPr>
        <p:spPr>
          <a:xfrm>
            <a:off x="148748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F8F10931-18F0-433A-AC5E-65EE1DB4129A}"/>
              </a:ext>
            </a:extLst>
          </p:cNvPr>
          <p:cNvCxnSpPr/>
          <p:nvPr/>
        </p:nvCxnSpPr>
        <p:spPr>
          <a:xfrm>
            <a:off x="2638426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EC514A1D-F749-449A-A2E6-22DCD7BF17C4}"/>
              </a:ext>
            </a:extLst>
          </p:cNvPr>
          <p:cNvCxnSpPr/>
          <p:nvPr/>
        </p:nvCxnSpPr>
        <p:spPr>
          <a:xfrm>
            <a:off x="379253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1E5009D7-6B73-43BE-99D0-59635A89BC75}"/>
              </a:ext>
            </a:extLst>
          </p:cNvPr>
          <p:cNvCxnSpPr/>
          <p:nvPr/>
        </p:nvCxnSpPr>
        <p:spPr>
          <a:xfrm>
            <a:off x="4583113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47D8A626-A7C6-4148-AA2E-CE5DD1A85F2B}"/>
              </a:ext>
            </a:extLst>
          </p:cNvPr>
          <p:cNvCxnSpPr/>
          <p:nvPr/>
        </p:nvCxnSpPr>
        <p:spPr>
          <a:xfrm>
            <a:off x="4943475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700E5437-43C6-4C8E-A7C8-B440ED623067}"/>
              </a:ext>
            </a:extLst>
          </p:cNvPr>
          <p:cNvCxnSpPr/>
          <p:nvPr/>
        </p:nvCxnSpPr>
        <p:spPr>
          <a:xfrm>
            <a:off x="6096000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4B502A48-F5B6-433B-9D20-478BFF854AB9}"/>
              </a:ext>
            </a:extLst>
          </p:cNvPr>
          <p:cNvCxnSpPr/>
          <p:nvPr/>
        </p:nvCxnSpPr>
        <p:spPr>
          <a:xfrm>
            <a:off x="7248525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7C098924-8A9C-4D31-86C0-B4768D507032}"/>
              </a:ext>
            </a:extLst>
          </p:cNvPr>
          <p:cNvCxnSpPr/>
          <p:nvPr/>
        </p:nvCxnSpPr>
        <p:spPr>
          <a:xfrm>
            <a:off x="760888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BB82E598-70AE-4F7F-814E-06127B5A3D6E}"/>
              </a:ext>
            </a:extLst>
          </p:cNvPr>
          <p:cNvCxnSpPr/>
          <p:nvPr/>
        </p:nvCxnSpPr>
        <p:spPr>
          <a:xfrm>
            <a:off x="1489076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904AB93B-662F-41BF-836C-D2D64FCC0FDA}"/>
              </a:ext>
            </a:extLst>
          </p:cNvPr>
          <p:cNvCxnSpPr/>
          <p:nvPr/>
        </p:nvCxnSpPr>
        <p:spPr>
          <a:xfrm>
            <a:off x="840263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7545D25C-D5C2-4FDF-A623-E9EDF6886996}"/>
              </a:ext>
            </a:extLst>
          </p:cNvPr>
          <p:cNvCxnSpPr/>
          <p:nvPr/>
        </p:nvCxnSpPr>
        <p:spPr>
          <a:xfrm>
            <a:off x="955198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E61AAA06-59B2-402E-90E3-0C2B22F1700C}"/>
              </a:ext>
            </a:extLst>
          </p:cNvPr>
          <p:cNvCxnSpPr/>
          <p:nvPr/>
        </p:nvCxnSpPr>
        <p:spPr>
          <a:xfrm>
            <a:off x="10704513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924D3566-C2E5-4256-B222-9F948B0D6F15}"/>
              </a:ext>
            </a:extLst>
          </p:cNvPr>
          <p:cNvCxnSpPr/>
          <p:nvPr/>
        </p:nvCxnSpPr>
        <p:spPr>
          <a:xfrm>
            <a:off x="1185703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CCC1A2F1-C1D4-4509-9549-141C62748335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3345892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F6EF8D5B-0767-456B-A9DA-545E5C27D79A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273470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DD892EA7-B98B-421F-B84B-657C787F0459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1511781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r Verbinder 40">
            <a:extLst>
              <a:ext uri="{FF2B5EF4-FFF2-40B4-BE49-F238E27FC236}">
                <a16:creationId xmlns:a16="http://schemas.microsoft.com/office/drawing/2014/main" id="{4D88CDC6-5388-456A-9720-DC3DB88D03E9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860416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495E1BE4-7ABB-4D45-BC0E-60FB6EB13A8F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284153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r Verbinder 42">
            <a:extLst>
              <a:ext uri="{FF2B5EF4-FFF2-40B4-BE49-F238E27FC236}">
                <a16:creationId xmlns:a16="http://schemas.microsoft.com/office/drawing/2014/main" id="{C222D0B4-9309-49E0-94E2-FE83EFF03CB8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3958667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r Verbinder 44">
            <a:extLst>
              <a:ext uri="{FF2B5EF4-FFF2-40B4-BE49-F238E27FC236}">
                <a16:creationId xmlns:a16="http://schemas.microsoft.com/office/drawing/2014/main" id="{E903F861-086A-4C9C-88A0-544DD5D2EC87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5182629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r Verbinder 46">
            <a:extLst>
              <a:ext uri="{FF2B5EF4-FFF2-40B4-BE49-F238E27FC236}">
                <a16:creationId xmlns:a16="http://schemas.microsoft.com/office/drawing/2014/main" id="{9E85238A-46BC-4F2E-A0A0-F81B78C37DF4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6405553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8" name="Gruppieren 67">
            <a:extLst>
              <a:ext uri="{FF2B5EF4-FFF2-40B4-BE49-F238E27FC236}">
                <a16:creationId xmlns:a16="http://schemas.microsoft.com/office/drawing/2014/main" id="{2667818E-6A1E-4A4C-AFD4-C135288874B4}"/>
              </a:ext>
            </a:extLst>
          </p:cNvPr>
          <p:cNvGrpSpPr/>
          <p:nvPr/>
        </p:nvGrpSpPr>
        <p:grpSpPr>
          <a:xfrm>
            <a:off x="10990764" y="364362"/>
            <a:ext cx="867864" cy="231551"/>
            <a:chOff x="464743" y="1368699"/>
            <a:chExt cx="2380059" cy="635012"/>
          </a:xfrm>
        </p:grpSpPr>
        <p:sp>
          <p:nvSpPr>
            <p:cNvPr id="55" name="Oval 5">
              <a:extLst>
                <a:ext uri="{FF2B5EF4-FFF2-40B4-BE49-F238E27FC236}">
                  <a16:creationId xmlns:a16="http://schemas.microsoft.com/office/drawing/2014/main" id="{C189E95A-38EA-45B6-9D02-6E1D97071C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56" name="Freeform 6">
              <a:extLst>
                <a:ext uri="{FF2B5EF4-FFF2-40B4-BE49-F238E27FC236}">
                  <a16:creationId xmlns:a16="http://schemas.microsoft.com/office/drawing/2014/main" id="{D2EEF067-6E8B-4787-9FDF-44E23FF2BA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57" name="Gruppieren 56">
              <a:extLst>
                <a:ext uri="{FF2B5EF4-FFF2-40B4-BE49-F238E27FC236}">
                  <a16:creationId xmlns:a16="http://schemas.microsoft.com/office/drawing/2014/main" id="{B766481E-25DF-4E9E-8BB7-4E620E81A44B}"/>
                </a:ext>
              </a:extLst>
            </p:cNvPr>
            <p:cNvGrpSpPr/>
            <p:nvPr/>
          </p:nvGrpSpPr>
          <p:grpSpPr>
            <a:xfrm>
              <a:off x="1311220" y="1530566"/>
              <a:ext cx="1533582" cy="307587"/>
              <a:chOff x="3987943" y="2307132"/>
              <a:chExt cx="2607166" cy="522910"/>
            </a:xfrm>
          </p:grpSpPr>
          <p:sp>
            <p:nvSpPr>
              <p:cNvPr id="58" name="Freeform 7">
                <a:extLst>
                  <a:ext uri="{FF2B5EF4-FFF2-40B4-BE49-F238E27FC236}">
                    <a16:creationId xmlns:a16="http://schemas.microsoft.com/office/drawing/2014/main" id="{4D630AF5-8630-4F31-9C90-CB14509D63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59" name="Freeform 8">
                <a:extLst>
                  <a:ext uri="{FF2B5EF4-FFF2-40B4-BE49-F238E27FC236}">
                    <a16:creationId xmlns:a16="http://schemas.microsoft.com/office/drawing/2014/main" id="{D7054DC7-CBA2-4C25-9F87-1FD140BC82D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0" name="Freeform 9">
                <a:extLst>
                  <a:ext uri="{FF2B5EF4-FFF2-40B4-BE49-F238E27FC236}">
                    <a16:creationId xmlns:a16="http://schemas.microsoft.com/office/drawing/2014/main" id="{4A833CE3-BEE9-415B-AC22-C39DBFA7A1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1" name="Freeform 10">
                <a:extLst>
                  <a:ext uri="{FF2B5EF4-FFF2-40B4-BE49-F238E27FC236}">
                    <a16:creationId xmlns:a16="http://schemas.microsoft.com/office/drawing/2014/main" id="{EE226485-6678-4B19-8051-5EC8249F4E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2" name="Freeform 11">
                <a:extLst>
                  <a:ext uri="{FF2B5EF4-FFF2-40B4-BE49-F238E27FC236}">
                    <a16:creationId xmlns:a16="http://schemas.microsoft.com/office/drawing/2014/main" id="{3BD573E8-29EC-4613-8FCC-EA264FFB7C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3" name="Freeform 12">
                <a:extLst>
                  <a:ext uri="{FF2B5EF4-FFF2-40B4-BE49-F238E27FC236}">
                    <a16:creationId xmlns:a16="http://schemas.microsoft.com/office/drawing/2014/main" id="{1045D026-AE12-444C-A892-8710BC1CC65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4" name="Freeform 13">
                <a:extLst>
                  <a:ext uri="{FF2B5EF4-FFF2-40B4-BE49-F238E27FC236}">
                    <a16:creationId xmlns:a16="http://schemas.microsoft.com/office/drawing/2014/main" id="{969A310D-4C62-4F20-8DB3-23D3EB19BD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5" name="Freeform 14">
                <a:extLst>
                  <a:ext uri="{FF2B5EF4-FFF2-40B4-BE49-F238E27FC236}">
                    <a16:creationId xmlns:a16="http://schemas.microsoft.com/office/drawing/2014/main" id="{82405CCE-A18D-49D5-AEEB-9BB84F66B20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6" name="Freeform 15">
                <a:extLst>
                  <a:ext uri="{FF2B5EF4-FFF2-40B4-BE49-F238E27FC236}">
                    <a16:creationId xmlns:a16="http://schemas.microsoft.com/office/drawing/2014/main" id="{76EB0AFD-7208-4A2E-8C9C-242989F4AD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7" name="Freeform 16">
                <a:extLst>
                  <a:ext uri="{FF2B5EF4-FFF2-40B4-BE49-F238E27FC236}">
                    <a16:creationId xmlns:a16="http://schemas.microsoft.com/office/drawing/2014/main" id="{BEDD3FC9-69F4-4907-86DD-5EA7BF30CC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cxnSp>
        <p:nvCxnSpPr>
          <p:cNvPr id="44" name="Gerader Verbinder 43">
            <a:extLst>
              <a:ext uri="{FF2B5EF4-FFF2-40B4-BE49-F238E27FC236}">
                <a16:creationId xmlns:a16="http://schemas.microsoft.com/office/drawing/2014/main" id="{5CC5A9D1-9CF7-4E59-BAA9-6A78649E671E}"/>
              </a:ext>
            </a:extLst>
          </p:cNvPr>
          <p:cNvCxnSpPr/>
          <p:nvPr/>
        </p:nvCxnSpPr>
        <p:spPr>
          <a:xfrm>
            <a:off x="915988" y="-214869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r Verbinder 46">
            <a:extLst>
              <a:ext uri="{FF2B5EF4-FFF2-40B4-BE49-F238E27FC236}">
                <a16:creationId xmlns:a16="http://schemas.microsoft.com/office/drawing/2014/main" id="{D1454764-EFB9-4832-B2A4-C4ACCC03E157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6189653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6" name="Objekt 14" hidden="1">
            <a:extLst>
              <a:ext uri="{FF2B5EF4-FFF2-40B4-BE49-F238E27FC236}">
                <a16:creationId xmlns:a16="http://schemas.microsoft.com/office/drawing/2014/main" id="{1BFDCA5D-BBB2-4BB3-B133-E8A0ECF065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27942399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3" imgW="344" imgH="345" progId="TCLayout.ActiveDocument.1">
                  <p:embed/>
                </p:oleObj>
              </mc:Choice>
              <mc:Fallback>
                <p:oleObj name="think-cell Folie" r:id="rId33" imgW="344" imgH="345" progId="TCLayout.ActiveDocument.1">
                  <p:embed/>
                  <p:pic>
                    <p:nvPicPr>
                      <p:cNvPr id="46" name="Objekt 14" hidden="1">
                        <a:extLst>
                          <a:ext uri="{FF2B5EF4-FFF2-40B4-BE49-F238E27FC236}">
                            <a16:creationId xmlns:a16="http://schemas.microsoft.com/office/drawing/2014/main" id="{1BFDCA5D-BBB2-4BB3-B133-E8A0ECF065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" name="Rechteck 13" hidden="1">
            <a:extLst>
              <a:ext uri="{FF2B5EF4-FFF2-40B4-BE49-F238E27FC236}">
                <a16:creationId xmlns:a16="http://schemas.microsoft.com/office/drawing/2014/main" id="{65ADB6CE-57D6-410A-915E-BB6DF3B97572}"/>
              </a:ext>
            </a:extLst>
          </p:cNvPr>
          <p:cNvSpPr/>
          <p:nvPr userDrawn="1">
            <p:custDataLst>
              <p:tags r:id="rId3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200" b="0" i="0" baseline="0">
              <a:latin typeface="Franklin Gothic Medium" panose="020B0603020102020204" pitchFamily="34" charset="0"/>
              <a:ea typeface="+mj-ea"/>
              <a:cs typeface="+mj-cs"/>
              <a:sym typeface="Franklin Gothic Medium" panose="020B0603020102020204" pitchFamily="34" charset="0"/>
            </a:endParaRPr>
          </a:p>
        </p:txBody>
      </p:sp>
      <p:sp>
        <p:nvSpPr>
          <p:cNvPr id="50" name="Titel 1">
            <a:extLst>
              <a:ext uri="{FF2B5EF4-FFF2-40B4-BE49-F238E27FC236}">
                <a16:creationId xmlns:a16="http://schemas.microsoft.com/office/drawing/2014/main" id="{E3DE531E-067D-492E-8281-5AE2C1C14B83}"/>
              </a:ext>
            </a:extLst>
          </p:cNvPr>
          <p:cNvSpPr txBox="1">
            <a:spLocks/>
          </p:cNvSpPr>
          <p:nvPr userDrawn="1"/>
        </p:nvSpPr>
        <p:spPr bwMode="gray">
          <a:xfrm>
            <a:off x="371364" y="6495967"/>
            <a:ext cx="810603" cy="138499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900">
                <a:solidFill>
                  <a:schemeClr val="tx2"/>
                </a:solidFill>
                <a:latin typeface="+mn-lt"/>
              </a:rPr>
              <a:t>LichtBlick SE</a:t>
            </a:r>
          </a:p>
        </p:txBody>
      </p:sp>
      <p:sp>
        <p:nvSpPr>
          <p:cNvPr id="51" name="Rechteck 9">
            <a:extLst>
              <a:ext uri="{FF2B5EF4-FFF2-40B4-BE49-F238E27FC236}">
                <a16:creationId xmlns:a16="http://schemas.microsoft.com/office/drawing/2014/main" id="{31736919-C751-4273-827D-960577EA1F7B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noFill/>
          <a:ln w="6350">
            <a:solidFill>
              <a:srgbClr val="DCDCD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n w="6350">
                <a:solidFill>
                  <a:schemeClr val="tx1"/>
                </a:solidFill>
              </a:ln>
            </a:endParaRPr>
          </a:p>
        </p:txBody>
      </p:sp>
    </p:spTree>
    <p:extLst>
      <p:ext uri="{BB962C8B-B14F-4D97-AF65-F5344CB8AC3E}">
        <p14:creationId xmlns:p14="http://schemas.microsoft.com/office/powerpoint/2010/main" val="18508255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  <p:sldLayoutId id="2147483675" r:id="rId12"/>
    <p:sldLayoutId id="2147483676" r:id="rId13"/>
    <p:sldLayoutId id="2147483677" r:id="rId14"/>
    <p:sldLayoutId id="2147483678" r:id="rId15"/>
    <p:sldLayoutId id="2147483679" r:id="rId16"/>
    <p:sldLayoutId id="2147483680" r:id="rId17"/>
    <p:sldLayoutId id="2147483681" r:id="rId18"/>
    <p:sldLayoutId id="2147483682" r:id="rId19"/>
    <p:sldLayoutId id="2147483683" r:id="rId20"/>
    <p:sldLayoutId id="2147483684" r:id="rId21"/>
    <p:sldLayoutId id="2147483685" r:id="rId22"/>
    <p:sldLayoutId id="2147483686" r:id="rId23"/>
    <p:sldLayoutId id="2147483687" r:id="rId24"/>
    <p:sldLayoutId id="2147483688" r:id="rId25"/>
    <p:sldLayoutId id="2147483689" r:id="rId26"/>
    <p:sldLayoutId id="2147483690" r:id="rId27"/>
    <p:sldLayoutId id="2147483691" r:id="rId28"/>
    <p:sldLayoutId id="2147483692" r:id="rId2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de-DE" sz="2400" kern="1200" baseline="0" dirty="0">
          <a:solidFill>
            <a:schemeClr val="tx1"/>
          </a:solidFill>
          <a:latin typeface="Officina Sans ITC Pro Medium" panose="020C0606030503020204" pitchFamily="34" charset="0"/>
          <a:ea typeface="Inter Medium" panose="020B0502030000000004" pitchFamily="34" charset="0"/>
          <a:cs typeface="+mn-cs"/>
        </a:defRPr>
      </a:lvl1pPr>
      <a:lvl2pPr algn="l" eaLnBrk="1" hangingPunct="1">
        <a:defRPr sz="2400" kern="1200" baseline="0">
          <a:solidFill>
            <a:schemeClr val="tx1"/>
          </a:solidFill>
          <a:latin typeface="+mj-lt"/>
        </a:defRPr>
      </a:lvl2pPr>
      <a:lvl3pPr algn="l" eaLnBrk="1" hangingPunct="1">
        <a:defRPr sz="2400" kern="1200" baseline="0">
          <a:solidFill>
            <a:schemeClr val="tx1"/>
          </a:solidFill>
          <a:latin typeface="+mj-lt"/>
        </a:defRPr>
      </a:lvl3pPr>
      <a:lvl4pPr algn="l" eaLnBrk="1" hangingPunct="1">
        <a:defRPr sz="2400" b="0" kern="1200" baseline="0">
          <a:solidFill>
            <a:schemeClr val="tx1"/>
          </a:solidFill>
          <a:latin typeface="+mj-lt"/>
        </a:defRPr>
      </a:lvl4pPr>
      <a:lvl5pPr algn="l" eaLnBrk="1" hangingPunct="1">
        <a:defRPr sz="2400" kern="1200" baseline="0">
          <a:solidFill>
            <a:schemeClr val="tx1"/>
          </a:solidFill>
          <a:latin typeface="+mj-lt"/>
        </a:defRPr>
      </a:lvl5pPr>
      <a:lvl6pPr algn="l" eaLnBrk="1" hangingPunct="1">
        <a:defRPr sz="2400" kern="1200" baseline="0">
          <a:solidFill>
            <a:schemeClr val="tx1"/>
          </a:solidFill>
          <a:latin typeface="+mj-lt"/>
        </a:defRPr>
      </a:lvl6pPr>
      <a:lvl7pPr algn="l" eaLnBrk="1" hangingPunct="1">
        <a:defRPr sz="2400" kern="1200" baseline="0">
          <a:solidFill>
            <a:schemeClr val="tx1"/>
          </a:solidFill>
          <a:latin typeface="+mj-lt"/>
        </a:defRPr>
      </a:lvl7pPr>
      <a:lvl8pPr algn="l" eaLnBrk="1" hangingPunct="1">
        <a:defRPr sz="2400" kern="1200" baseline="0">
          <a:solidFill>
            <a:schemeClr val="tx1"/>
          </a:solidFill>
          <a:latin typeface="+mj-lt"/>
        </a:defRPr>
      </a:lvl8pPr>
      <a:lvl9pPr algn="l" eaLnBrk="1" hangingPunct="1">
        <a:defRPr sz="2400" kern="1200" baseline="0">
          <a:solidFill>
            <a:schemeClr val="tx1"/>
          </a:solidFill>
          <a:latin typeface="+mj-lt"/>
        </a:defRPr>
      </a:lvl9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32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SzPct val="90000"/>
        <a:buFont typeface="Inter Semi Bold" panose="020B0702030000000004" pitchFamily="34" charset="0"/>
        <a:buChar char="○"/>
        <a:defRPr lang="de-DE" sz="1200" b="0" kern="1200" dirty="0">
          <a:solidFill>
            <a:schemeClr val="tx1"/>
          </a:solidFill>
          <a:latin typeface="Inter Semi Bold" panose="020B0702030000000004" pitchFamily="34" charset="0"/>
          <a:ea typeface="Inter Semi Bold" panose="020B0702030000000004" pitchFamily="34" charset="0"/>
          <a:cs typeface="+mn-cs"/>
        </a:defRPr>
      </a:lvl2pPr>
      <a:lvl3pPr marL="720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-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+mj-lt"/>
        <a:buAutoNum type="arabicPeriod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+mj-lt"/>
        <a:buAutoNum type="alphaLcPeriod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600" b="0" kern="1200">
          <a:solidFill>
            <a:schemeClr val="tx1"/>
          </a:solidFill>
          <a:latin typeface="Inter Semi Bold" panose="020B0702030000000004" pitchFamily="34" charset="0"/>
          <a:ea typeface="Inter Semi Bold" panose="020B0702030000000004" pitchFamily="34" charset="0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600" b="0" kern="1200">
          <a:solidFill>
            <a:schemeClr val="accent1"/>
          </a:solidFill>
          <a:latin typeface="Inter Semi Bold" panose="020B0702030000000004" pitchFamily="34" charset="0"/>
          <a:ea typeface="Inter Semi Bold" panose="020B0702030000000004" pitchFamily="34" charset="0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F26B43"/>
          </p15:clr>
        </p15:guide>
        <p15:guide id="10" orient="horz" pos="2546">
          <p15:clr>
            <a:srgbClr val="A4A3A4"/>
          </p15:clr>
        </p15:guide>
        <p15:guide id="11" orient="horz" pos="1774">
          <p15:clr>
            <a:srgbClr val="A4A3A4"/>
          </p15:clr>
        </p15:guide>
        <p15:guide id="12" orient="horz" pos="1003">
          <p15:clr>
            <a:srgbClr val="F26B43"/>
          </p15:clr>
        </p15:guide>
        <p15:guide id="13" orient="horz" pos="3317">
          <p15:clr>
            <a:srgbClr val="A4A3A4"/>
          </p15:clr>
        </p15:guide>
        <p15:guide id="14" orient="horz" pos="4088">
          <p15:clr>
            <a:srgbClr val="A4A3A4"/>
          </p15:clr>
        </p15:guide>
        <p15:guide id="15" orient="horz" pos="232">
          <p15:clr>
            <a:srgbClr val="F26B43"/>
          </p15:clr>
        </p15:guide>
        <p15:guide id="17" pos="211">
          <p15:clr>
            <a:srgbClr val="F26B43"/>
          </p15:clr>
        </p15:guide>
        <p15:guide id="18" pos="7469">
          <p15:clr>
            <a:srgbClr val="F26B43"/>
          </p15:clr>
        </p15:guide>
        <p15:guide id="19" pos="6743">
          <p15:clr>
            <a:srgbClr val="A4A3A4"/>
          </p15:clr>
        </p15:guide>
        <p15:guide id="20" pos="937">
          <p15:clr>
            <a:srgbClr val="A4A3A4"/>
          </p15:clr>
        </p15:guide>
        <p15:guide id="21" pos="1663">
          <p15:clr>
            <a:srgbClr val="A4A3A4"/>
          </p15:clr>
        </p15:guide>
        <p15:guide id="22" pos="2389">
          <p15:clr>
            <a:srgbClr val="A4A3A4"/>
          </p15:clr>
        </p15:guide>
        <p15:guide id="23" pos="5292">
          <p15:clr>
            <a:srgbClr val="A4A3A4"/>
          </p15:clr>
        </p15:guide>
        <p15:guide id="24" pos="6017">
          <p15:clr>
            <a:srgbClr val="A4A3A4"/>
          </p15:clr>
        </p15:guide>
        <p15:guide id="25" pos="3114">
          <p15:clr>
            <a:srgbClr val="A4A3A4"/>
          </p15:clr>
        </p15:guide>
        <p15:guide id="26" pos="4566">
          <p15:clr>
            <a:srgbClr val="A4A3A4"/>
          </p15:clr>
        </p15:guide>
        <p15:guide id="27" pos="4793">
          <p15:clr>
            <a:srgbClr val="A4A3A4"/>
          </p15:clr>
        </p15:guide>
        <p15:guide id="28" pos="2887">
          <p15:clr>
            <a:srgbClr val="A4A3A4"/>
          </p15:clr>
        </p15:guide>
        <p15:guide id="29" orient="horz" pos="595">
          <p15:clr>
            <a:srgbClr val="A4A3A4"/>
          </p15:clr>
        </p15:guide>
        <p15:guide id="30" pos="574">
          <p15:clr>
            <a:srgbClr val="A4A3A4"/>
          </p15:clr>
        </p15:guide>
        <p15:guide id="31" orient="horz" pos="3952">
          <p15:clr>
            <a:srgbClr val="F26B43"/>
          </p15:clr>
        </p15:guide>
        <p15:guide id="32" pos="234" userDrawn="1">
          <p15:clr>
            <a:srgbClr val="F26B43"/>
          </p15:clr>
        </p15:guide>
        <p15:guide id="33" pos="7446" userDrawn="1">
          <p15:clr>
            <a:srgbClr val="F26B43"/>
          </p15:clr>
        </p15:guide>
        <p15:guide id="34" orient="horz" pos="935" userDrawn="1">
          <p15:clr>
            <a:srgbClr val="F26B43"/>
          </p15:clr>
        </p15:guide>
        <p15:guide id="35" orient="horz" pos="3997" userDrawn="1">
          <p15:clr>
            <a:srgbClr val="F26B43"/>
          </p15:clr>
        </p15:guide>
        <p15:guide id="36" pos="3976" userDrawn="1">
          <p15:clr>
            <a:srgbClr val="F26B43"/>
          </p15:clr>
        </p15:guide>
        <p15:guide id="37" pos="370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5CC22B28-D1A3-4258-BEBE-87C642AD2342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38138" y="368300"/>
            <a:ext cx="9213850" cy="25380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lvl="0"/>
            <a:r>
              <a:rPr lang="de-DE"/>
              <a:t>Headlin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7A7899-1176-4714-BFC5-99E4DB99A754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38138" y="1592263"/>
            <a:ext cx="6910386" cy="46815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Erste Ebene für Fließtext (</a:t>
            </a:r>
            <a:r>
              <a:rPr lang="de-DE" err="1"/>
              <a:t>Inter</a:t>
            </a:r>
            <a:r>
              <a:rPr lang="de-DE"/>
              <a:t>, 12 </a:t>
            </a:r>
            <a:r>
              <a:rPr lang="de-DE" err="1"/>
              <a:t>pt</a:t>
            </a:r>
            <a:r>
              <a:rPr lang="de-DE"/>
              <a:t>, schwarz)</a:t>
            </a:r>
          </a:p>
          <a:p>
            <a:pPr lvl="1"/>
            <a:r>
              <a:rPr lang="de-DE"/>
              <a:t>Zweite Ebene für Fettungen/Hervorhebungen (</a:t>
            </a:r>
            <a:r>
              <a:rPr lang="de-DE" err="1"/>
              <a:t>Inter</a:t>
            </a:r>
            <a:r>
              <a:rPr lang="de-DE"/>
              <a:t> </a:t>
            </a:r>
            <a:r>
              <a:rPr lang="de-DE" err="1"/>
              <a:t>Semi</a:t>
            </a:r>
            <a:r>
              <a:rPr lang="de-DE"/>
              <a:t> </a:t>
            </a:r>
            <a:r>
              <a:rPr lang="de-DE" err="1"/>
              <a:t>Bold</a:t>
            </a:r>
            <a:r>
              <a:rPr lang="de-DE"/>
              <a:t>, 12pt, schwarz)</a:t>
            </a:r>
          </a:p>
          <a:p>
            <a:pPr lvl="2"/>
            <a:r>
              <a:rPr lang="de-DE"/>
              <a:t>Dritte Ebene für Bullet Points</a:t>
            </a:r>
          </a:p>
          <a:p>
            <a:pPr lvl="3"/>
            <a:r>
              <a:rPr lang="de-DE"/>
              <a:t>Vierte Ebene für Aufzählungen</a:t>
            </a:r>
          </a:p>
          <a:p>
            <a:pPr lvl="4"/>
            <a:r>
              <a:rPr lang="de-DE"/>
              <a:t>Fünfte Ebene für Aufzählungen</a:t>
            </a:r>
          </a:p>
          <a:p>
            <a:pPr lvl="5"/>
            <a:r>
              <a:rPr lang="de-DE"/>
              <a:t>Sechste Ebene für Highlights (</a:t>
            </a:r>
            <a:r>
              <a:rPr lang="de-DE" err="1"/>
              <a:t>Inter</a:t>
            </a:r>
            <a:r>
              <a:rPr lang="de-DE"/>
              <a:t> </a:t>
            </a:r>
            <a:r>
              <a:rPr lang="de-DE" err="1"/>
              <a:t>Semi</a:t>
            </a:r>
            <a:r>
              <a:rPr lang="de-DE"/>
              <a:t> </a:t>
            </a:r>
            <a:r>
              <a:rPr lang="de-DE" err="1"/>
              <a:t>Bold</a:t>
            </a:r>
            <a:r>
              <a:rPr lang="de-DE"/>
              <a:t>, 16pt, schwarz)</a:t>
            </a:r>
          </a:p>
          <a:p>
            <a:pPr lvl="6"/>
            <a:r>
              <a:rPr lang="de-DE"/>
              <a:t>Siebte Ebene für Highlights (</a:t>
            </a:r>
            <a:r>
              <a:rPr lang="de-DE" err="1"/>
              <a:t>Inter</a:t>
            </a:r>
            <a:r>
              <a:rPr lang="de-DE"/>
              <a:t> </a:t>
            </a:r>
            <a:r>
              <a:rPr lang="de-DE" err="1"/>
              <a:t>Semi</a:t>
            </a:r>
            <a:r>
              <a:rPr lang="de-DE"/>
              <a:t> </a:t>
            </a:r>
            <a:r>
              <a:rPr lang="de-DE" err="1"/>
              <a:t>Bold</a:t>
            </a:r>
            <a:r>
              <a:rPr lang="de-DE"/>
              <a:t>, 16pt, </a:t>
            </a:r>
            <a:r>
              <a:rPr lang="de-DE" err="1"/>
              <a:t>Highlightfarbe</a:t>
            </a:r>
            <a:r>
              <a:rPr lang="de-DE"/>
              <a:t>)</a:t>
            </a:r>
          </a:p>
          <a:p>
            <a:pPr lvl="7"/>
            <a:r>
              <a:rPr lang="de-DE"/>
              <a:t>Achte Ebene für Diagramm und Bildlegenden (</a:t>
            </a:r>
            <a:r>
              <a:rPr lang="de-DE" err="1"/>
              <a:t>Inter</a:t>
            </a:r>
            <a:r>
              <a:rPr lang="de-DE"/>
              <a:t>, 10pt, schwarz)</a:t>
            </a:r>
          </a:p>
          <a:p>
            <a:pPr lvl="8"/>
            <a:r>
              <a:rPr lang="de-DE"/>
              <a:t>Neunte Ebene (</a:t>
            </a:r>
            <a:r>
              <a:rPr lang="de-DE" err="1"/>
              <a:t>Inter</a:t>
            </a:r>
            <a:r>
              <a:rPr lang="de-DE"/>
              <a:t>, 10pt, schwarz)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9E6ADEB-3EA6-4FEA-9F5A-2E6A8A33C6A6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1160919" y="6491733"/>
            <a:ext cx="457993" cy="101671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fld id="{81DA2254-8F57-4900-97F5-0CD26E7EC92B}" type="datetime1">
              <a:rPr lang="de-DE" smtClean="0"/>
              <a:t>2022-01-1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C251B0C-0232-4145-8300-5B5D4ADF23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8401051" y="6491733"/>
            <a:ext cx="2522534" cy="101671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6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isk Report 2021 M03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44938F2-A076-4BF9-B690-BCB3E75B62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725538" y="6491733"/>
            <a:ext cx="191824" cy="101671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</a:lstStyle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4017B64D-C976-4728-A95B-0361BA6A9F0D}"/>
              </a:ext>
            </a:extLst>
          </p:cNvPr>
          <p:cNvCxnSpPr/>
          <p:nvPr/>
        </p:nvCxnSpPr>
        <p:spPr>
          <a:xfrm>
            <a:off x="334963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D9A3A56F-06AD-4760-9043-8DB8B80BE502}"/>
              </a:ext>
            </a:extLst>
          </p:cNvPr>
          <p:cNvCxnSpPr/>
          <p:nvPr/>
        </p:nvCxnSpPr>
        <p:spPr>
          <a:xfrm>
            <a:off x="148748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F8F10931-18F0-433A-AC5E-65EE1DB4129A}"/>
              </a:ext>
            </a:extLst>
          </p:cNvPr>
          <p:cNvCxnSpPr/>
          <p:nvPr/>
        </p:nvCxnSpPr>
        <p:spPr>
          <a:xfrm>
            <a:off x="2638426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EC514A1D-F749-449A-A2E6-22DCD7BF17C4}"/>
              </a:ext>
            </a:extLst>
          </p:cNvPr>
          <p:cNvCxnSpPr/>
          <p:nvPr/>
        </p:nvCxnSpPr>
        <p:spPr>
          <a:xfrm>
            <a:off x="379253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1E5009D7-6B73-43BE-99D0-59635A89BC75}"/>
              </a:ext>
            </a:extLst>
          </p:cNvPr>
          <p:cNvCxnSpPr/>
          <p:nvPr/>
        </p:nvCxnSpPr>
        <p:spPr>
          <a:xfrm>
            <a:off x="4583113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47D8A626-A7C6-4148-AA2E-CE5DD1A85F2B}"/>
              </a:ext>
            </a:extLst>
          </p:cNvPr>
          <p:cNvCxnSpPr/>
          <p:nvPr/>
        </p:nvCxnSpPr>
        <p:spPr>
          <a:xfrm>
            <a:off x="4943475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700E5437-43C6-4C8E-A7C8-B440ED623067}"/>
              </a:ext>
            </a:extLst>
          </p:cNvPr>
          <p:cNvCxnSpPr/>
          <p:nvPr/>
        </p:nvCxnSpPr>
        <p:spPr>
          <a:xfrm>
            <a:off x="6096000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4B502A48-F5B6-433B-9D20-478BFF854AB9}"/>
              </a:ext>
            </a:extLst>
          </p:cNvPr>
          <p:cNvCxnSpPr/>
          <p:nvPr/>
        </p:nvCxnSpPr>
        <p:spPr>
          <a:xfrm>
            <a:off x="7248525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7C098924-8A9C-4D31-86C0-B4768D507032}"/>
              </a:ext>
            </a:extLst>
          </p:cNvPr>
          <p:cNvCxnSpPr/>
          <p:nvPr/>
        </p:nvCxnSpPr>
        <p:spPr>
          <a:xfrm>
            <a:off x="760888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BB82E598-70AE-4F7F-814E-06127B5A3D6E}"/>
              </a:ext>
            </a:extLst>
          </p:cNvPr>
          <p:cNvCxnSpPr/>
          <p:nvPr/>
        </p:nvCxnSpPr>
        <p:spPr>
          <a:xfrm>
            <a:off x="1489076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904AB93B-662F-41BF-836C-D2D64FCC0FDA}"/>
              </a:ext>
            </a:extLst>
          </p:cNvPr>
          <p:cNvCxnSpPr/>
          <p:nvPr/>
        </p:nvCxnSpPr>
        <p:spPr>
          <a:xfrm>
            <a:off x="840263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7545D25C-D5C2-4FDF-A623-E9EDF6886996}"/>
              </a:ext>
            </a:extLst>
          </p:cNvPr>
          <p:cNvCxnSpPr/>
          <p:nvPr/>
        </p:nvCxnSpPr>
        <p:spPr>
          <a:xfrm>
            <a:off x="955198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E61AAA06-59B2-402E-90E3-0C2B22F1700C}"/>
              </a:ext>
            </a:extLst>
          </p:cNvPr>
          <p:cNvCxnSpPr/>
          <p:nvPr/>
        </p:nvCxnSpPr>
        <p:spPr>
          <a:xfrm>
            <a:off x="10704513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924D3566-C2E5-4256-B222-9F948B0D6F15}"/>
              </a:ext>
            </a:extLst>
          </p:cNvPr>
          <p:cNvCxnSpPr/>
          <p:nvPr/>
        </p:nvCxnSpPr>
        <p:spPr>
          <a:xfrm>
            <a:off x="1185703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CCC1A2F1-C1D4-4509-9549-141C62748335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3345892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F6EF8D5B-0767-456B-A9DA-545E5C27D79A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273470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DD892EA7-B98B-421F-B84B-657C787F0459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1511781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495E1BE4-7ABB-4D45-BC0E-60FB6EB13A8F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284153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r Verbinder 42">
            <a:extLst>
              <a:ext uri="{FF2B5EF4-FFF2-40B4-BE49-F238E27FC236}">
                <a16:creationId xmlns:a16="http://schemas.microsoft.com/office/drawing/2014/main" id="{C222D0B4-9309-49E0-94E2-FE83EFF03CB8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3958667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r Verbinder 44">
            <a:extLst>
              <a:ext uri="{FF2B5EF4-FFF2-40B4-BE49-F238E27FC236}">
                <a16:creationId xmlns:a16="http://schemas.microsoft.com/office/drawing/2014/main" id="{E903F861-086A-4C9C-88A0-544DD5D2EC87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5182629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r Verbinder 46">
            <a:extLst>
              <a:ext uri="{FF2B5EF4-FFF2-40B4-BE49-F238E27FC236}">
                <a16:creationId xmlns:a16="http://schemas.microsoft.com/office/drawing/2014/main" id="{9E85238A-46BC-4F2E-A0A0-F81B78C37DF4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6405553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8" name="Gruppieren 67">
            <a:extLst>
              <a:ext uri="{FF2B5EF4-FFF2-40B4-BE49-F238E27FC236}">
                <a16:creationId xmlns:a16="http://schemas.microsoft.com/office/drawing/2014/main" id="{2667818E-6A1E-4A4C-AFD4-C135288874B4}"/>
              </a:ext>
            </a:extLst>
          </p:cNvPr>
          <p:cNvGrpSpPr/>
          <p:nvPr/>
        </p:nvGrpSpPr>
        <p:grpSpPr>
          <a:xfrm>
            <a:off x="10990764" y="364362"/>
            <a:ext cx="867864" cy="231551"/>
            <a:chOff x="464743" y="1368699"/>
            <a:chExt cx="2380059" cy="635012"/>
          </a:xfrm>
        </p:grpSpPr>
        <p:sp>
          <p:nvSpPr>
            <p:cNvPr id="55" name="Oval 5">
              <a:extLst>
                <a:ext uri="{FF2B5EF4-FFF2-40B4-BE49-F238E27FC236}">
                  <a16:creationId xmlns:a16="http://schemas.microsoft.com/office/drawing/2014/main" id="{C189E95A-38EA-45B6-9D02-6E1D97071C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56" name="Freeform 6">
              <a:extLst>
                <a:ext uri="{FF2B5EF4-FFF2-40B4-BE49-F238E27FC236}">
                  <a16:creationId xmlns:a16="http://schemas.microsoft.com/office/drawing/2014/main" id="{D2EEF067-6E8B-4787-9FDF-44E23FF2BA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57" name="Gruppieren 56">
              <a:extLst>
                <a:ext uri="{FF2B5EF4-FFF2-40B4-BE49-F238E27FC236}">
                  <a16:creationId xmlns:a16="http://schemas.microsoft.com/office/drawing/2014/main" id="{B766481E-25DF-4E9E-8BB7-4E620E81A44B}"/>
                </a:ext>
              </a:extLst>
            </p:cNvPr>
            <p:cNvGrpSpPr/>
            <p:nvPr/>
          </p:nvGrpSpPr>
          <p:grpSpPr>
            <a:xfrm>
              <a:off x="1311220" y="1530566"/>
              <a:ext cx="1533582" cy="307587"/>
              <a:chOff x="3987943" y="2307132"/>
              <a:chExt cx="2607166" cy="522910"/>
            </a:xfrm>
          </p:grpSpPr>
          <p:sp>
            <p:nvSpPr>
              <p:cNvPr id="58" name="Freeform 7">
                <a:extLst>
                  <a:ext uri="{FF2B5EF4-FFF2-40B4-BE49-F238E27FC236}">
                    <a16:creationId xmlns:a16="http://schemas.microsoft.com/office/drawing/2014/main" id="{4D630AF5-8630-4F31-9C90-CB14509D63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59" name="Freeform 8">
                <a:extLst>
                  <a:ext uri="{FF2B5EF4-FFF2-40B4-BE49-F238E27FC236}">
                    <a16:creationId xmlns:a16="http://schemas.microsoft.com/office/drawing/2014/main" id="{D7054DC7-CBA2-4C25-9F87-1FD140BC82D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0" name="Freeform 9">
                <a:extLst>
                  <a:ext uri="{FF2B5EF4-FFF2-40B4-BE49-F238E27FC236}">
                    <a16:creationId xmlns:a16="http://schemas.microsoft.com/office/drawing/2014/main" id="{4A833CE3-BEE9-415B-AC22-C39DBFA7A1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1" name="Freeform 10">
                <a:extLst>
                  <a:ext uri="{FF2B5EF4-FFF2-40B4-BE49-F238E27FC236}">
                    <a16:creationId xmlns:a16="http://schemas.microsoft.com/office/drawing/2014/main" id="{EE226485-6678-4B19-8051-5EC8249F4E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2" name="Freeform 11">
                <a:extLst>
                  <a:ext uri="{FF2B5EF4-FFF2-40B4-BE49-F238E27FC236}">
                    <a16:creationId xmlns:a16="http://schemas.microsoft.com/office/drawing/2014/main" id="{3BD573E8-29EC-4613-8FCC-EA264FFB7C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3" name="Freeform 12">
                <a:extLst>
                  <a:ext uri="{FF2B5EF4-FFF2-40B4-BE49-F238E27FC236}">
                    <a16:creationId xmlns:a16="http://schemas.microsoft.com/office/drawing/2014/main" id="{1045D026-AE12-444C-A892-8710BC1CC65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4" name="Freeform 13">
                <a:extLst>
                  <a:ext uri="{FF2B5EF4-FFF2-40B4-BE49-F238E27FC236}">
                    <a16:creationId xmlns:a16="http://schemas.microsoft.com/office/drawing/2014/main" id="{969A310D-4C62-4F20-8DB3-23D3EB19BD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5" name="Freeform 14">
                <a:extLst>
                  <a:ext uri="{FF2B5EF4-FFF2-40B4-BE49-F238E27FC236}">
                    <a16:creationId xmlns:a16="http://schemas.microsoft.com/office/drawing/2014/main" id="{82405CCE-A18D-49D5-AEEB-9BB84F66B20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6" name="Freeform 15">
                <a:extLst>
                  <a:ext uri="{FF2B5EF4-FFF2-40B4-BE49-F238E27FC236}">
                    <a16:creationId xmlns:a16="http://schemas.microsoft.com/office/drawing/2014/main" id="{76EB0AFD-7208-4A2E-8C9C-242989F4AD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7" name="Freeform 16">
                <a:extLst>
                  <a:ext uri="{FF2B5EF4-FFF2-40B4-BE49-F238E27FC236}">
                    <a16:creationId xmlns:a16="http://schemas.microsoft.com/office/drawing/2014/main" id="{BEDD3FC9-69F4-4907-86DD-5EA7BF30CC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cxnSp>
        <p:nvCxnSpPr>
          <p:cNvPr id="44" name="Gerader Verbinder 43">
            <a:extLst>
              <a:ext uri="{FF2B5EF4-FFF2-40B4-BE49-F238E27FC236}">
                <a16:creationId xmlns:a16="http://schemas.microsoft.com/office/drawing/2014/main" id="{5CC5A9D1-9CF7-4E59-BAA9-6A78649E671E}"/>
              </a:ext>
            </a:extLst>
          </p:cNvPr>
          <p:cNvCxnSpPr/>
          <p:nvPr/>
        </p:nvCxnSpPr>
        <p:spPr>
          <a:xfrm>
            <a:off x="915988" y="-214869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r Verbinder 45">
            <a:extLst>
              <a:ext uri="{FF2B5EF4-FFF2-40B4-BE49-F238E27FC236}">
                <a16:creationId xmlns:a16="http://schemas.microsoft.com/office/drawing/2014/main" id="{E6732B1C-C1BC-4B90-8EC1-F4F2A5FB3F49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860416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r Verbinder 46">
            <a:extLst>
              <a:ext uri="{FF2B5EF4-FFF2-40B4-BE49-F238E27FC236}">
                <a16:creationId xmlns:a16="http://schemas.microsoft.com/office/drawing/2014/main" id="{624F4BC0-A11B-44E1-9607-90FC8940314F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6189653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987695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707" r:id="rId8"/>
    <p:sldLayoutId id="2147483708" r:id="rId9"/>
    <p:sldLayoutId id="2147483709" r:id="rId10"/>
    <p:sldLayoutId id="2147483710" r:id="rId11"/>
    <p:sldLayoutId id="2147483711" r:id="rId12"/>
    <p:sldLayoutId id="2147483712" r:id="rId13"/>
    <p:sldLayoutId id="2147483713" r:id="rId14"/>
    <p:sldLayoutId id="2147483714" r:id="rId15"/>
    <p:sldLayoutId id="2147483715" r:id="rId16"/>
    <p:sldLayoutId id="2147483716" r:id="rId17"/>
    <p:sldLayoutId id="2147483717" r:id="rId18"/>
    <p:sldLayoutId id="2147483718" r:id="rId19"/>
    <p:sldLayoutId id="2147483719" r:id="rId20"/>
    <p:sldLayoutId id="2147483720" r:id="rId21"/>
    <p:sldLayoutId id="2147483721" r:id="rId22"/>
    <p:sldLayoutId id="2147483722" r:id="rId23"/>
    <p:sldLayoutId id="2147483723" r:id="rId24"/>
    <p:sldLayoutId id="2147483724" r:id="rId25"/>
    <p:sldLayoutId id="2147483725" r:id="rId26"/>
    <p:sldLayoutId id="2147483726" r:id="rId27"/>
    <p:sldLayoutId id="2147483727" r:id="rId28"/>
    <p:sldLayoutId id="2147483728" r:id="rId2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de-DE" sz="2400" kern="1200" baseline="0" dirty="0">
          <a:solidFill>
            <a:schemeClr val="tx1"/>
          </a:solidFill>
          <a:latin typeface="Officina Sans ITC Pro Medium" panose="020C0606030503020204" pitchFamily="34" charset="0"/>
          <a:ea typeface="Inter Medium" panose="020B0502030000000004" pitchFamily="34" charset="0"/>
          <a:cs typeface="+mn-cs"/>
        </a:defRPr>
      </a:lvl1pPr>
      <a:lvl2pPr algn="l" eaLnBrk="1" hangingPunct="1">
        <a:defRPr sz="2400" kern="1200" baseline="0">
          <a:solidFill>
            <a:schemeClr val="tx1"/>
          </a:solidFill>
          <a:latin typeface="+mj-lt"/>
        </a:defRPr>
      </a:lvl2pPr>
      <a:lvl3pPr algn="l" eaLnBrk="1" hangingPunct="1">
        <a:defRPr sz="2400" kern="1200" baseline="0">
          <a:solidFill>
            <a:schemeClr val="tx1"/>
          </a:solidFill>
          <a:latin typeface="+mj-lt"/>
        </a:defRPr>
      </a:lvl3pPr>
      <a:lvl4pPr algn="l" eaLnBrk="1" hangingPunct="1">
        <a:defRPr sz="2400" b="0" kern="1200" baseline="0">
          <a:solidFill>
            <a:schemeClr val="tx1"/>
          </a:solidFill>
          <a:latin typeface="+mj-lt"/>
        </a:defRPr>
      </a:lvl4pPr>
      <a:lvl5pPr algn="l" eaLnBrk="1" hangingPunct="1">
        <a:defRPr sz="2400" kern="1200" baseline="0">
          <a:solidFill>
            <a:schemeClr val="tx1"/>
          </a:solidFill>
          <a:latin typeface="+mj-lt"/>
        </a:defRPr>
      </a:lvl5pPr>
      <a:lvl6pPr algn="l" eaLnBrk="1" hangingPunct="1">
        <a:defRPr sz="2400" kern="1200" baseline="0">
          <a:solidFill>
            <a:schemeClr val="tx1"/>
          </a:solidFill>
          <a:latin typeface="+mj-lt"/>
        </a:defRPr>
      </a:lvl6pPr>
      <a:lvl7pPr algn="l" eaLnBrk="1" hangingPunct="1">
        <a:defRPr sz="2400" kern="1200" baseline="0">
          <a:solidFill>
            <a:schemeClr val="tx1"/>
          </a:solidFill>
          <a:latin typeface="+mj-lt"/>
        </a:defRPr>
      </a:lvl7pPr>
      <a:lvl8pPr algn="l" eaLnBrk="1" hangingPunct="1">
        <a:defRPr sz="2400" kern="1200" baseline="0">
          <a:solidFill>
            <a:schemeClr val="tx1"/>
          </a:solidFill>
          <a:latin typeface="+mj-lt"/>
        </a:defRPr>
      </a:lvl8pPr>
      <a:lvl9pPr algn="l" eaLnBrk="1" hangingPunct="1">
        <a:defRPr sz="2400" kern="1200" baseline="0">
          <a:solidFill>
            <a:schemeClr val="tx1"/>
          </a:solidFill>
          <a:latin typeface="+mj-lt"/>
        </a:defRPr>
      </a:lvl9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32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SzPct val="90000"/>
        <a:buFont typeface="Inter Semi Bold" panose="020B0702030000000004" pitchFamily="34" charset="0"/>
        <a:buChar char="○"/>
        <a:defRPr lang="de-DE" sz="1200" b="0" kern="1200" dirty="0">
          <a:solidFill>
            <a:schemeClr val="tx1"/>
          </a:solidFill>
          <a:latin typeface="Inter Semi Bold" panose="020B0702030000000004" pitchFamily="34" charset="0"/>
          <a:ea typeface="Inter Semi Bold" panose="020B0702030000000004" pitchFamily="34" charset="0"/>
          <a:cs typeface="+mn-cs"/>
        </a:defRPr>
      </a:lvl2pPr>
      <a:lvl3pPr marL="720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-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+mj-lt"/>
        <a:buAutoNum type="arabicPeriod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+mj-lt"/>
        <a:buAutoNum type="alphaLcPeriod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600" b="0" kern="1200">
          <a:solidFill>
            <a:schemeClr val="tx1"/>
          </a:solidFill>
          <a:latin typeface="Inter Semi Bold" panose="020B0702030000000004" pitchFamily="34" charset="0"/>
          <a:ea typeface="Inter Semi Bold" panose="020B0702030000000004" pitchFamily="34" charset="0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600" b="0" kern="1200">
          <a:solidFill>
            <a:schemeClr val="accent1"/>
          </a:solidFill>
          <a:latin typeface="Inter Semi Bold" panose="020B0702030000000004" pitchFamily="34" charset="0"/>
          <a:ea typeface="Inter Semi Bold" panose="020B0702030000000004" pitchFamily="34" charset="0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F26B43"/>
          </p15:clr>
        </p15:guide>
        <p15:guide id="10" orient="horz" pos="2546">
          <p15:clr>
            <a:srgbClr val="A4A3A4"/>
          </p15:clr>
        </p15:guide>
        <p15:guide id="11" orient="horz" pos="1774">
          <p15:clr>
            <a:srgbClr val="A4A3A4"/>
          </p15:clr>
        </p15:guide>
        <p15:guide id="12" orient="horz" pos="1003">
          <p15:clr>
            <a:srgbClr val="F26B43"/>
          </p15:clr>
        </p15:guide>
        <p15:guide id="13" orient="horz" pos="3317">
          <p15:clr>
            <a:srgbClr val="A4A3A4"/>
          </p15:clr>
        </p15:guide>
        <p15:guide id="14" orient="horz" pos="4088">
          <p15:clr>
            <a:srgbClr val="A4A3A4"/>
          </p15:clr>
        </p15:guide>
        <p15:guide id="15" orient="horz" pos="232">
          <p15:clr>
            <a:srgbClr val="F26B43"/>
          </p15:clr>
        </p15:guide>
        <p15:guide id="17" pos="211">
          <p15:clr>
            <a:srgbClr val="F26B43"/>
          </p15:clr>
        </p15:guide>
        <p15:guide id="18" pos="7469">
          <p15:clr>
            <a:srgbClr val="F26B43"/>
          </p15:clr>
        </p15:guide>
        <p15:guide id="19" pos="6743">
          <p15:clr>
            <a:srgbClr val="A4A3A4"/>
          </p15:clr>
        </p15:guide>
        <p15:guide id="20" pos="937">
          <p15:clr>
            <a:srgbClr val="A4A3A4"/>
          </p15:clr>
        </p15:guide>
        <p15:guide id="21" pos="1663">
          <p15:clr>
            <a:srgbClr val="A4A3A4"/>
          </p15:clr>
        </p15:guide>
        <p15:guide id="22" pos="2389">
          <p15:clr>
            <a:srgbClr val="A4A3A4"/>
          </p15:clr>
        </p15:guide>
        <p15:guide id="23" pos="5292">
          <p15:clr>
            <a:srgbClr val="A4A3A4"/>
          </p15:clr>
        </p15:guide>
        <p15:guide id="24" pos="6017">
          <p15:clr>
            <a:srgbClr val="A4A3A4"/>
          </p15:clr>
        </p15:guide>
        <p15:guide id="25" pos="3114">
          <p15:clr>
            <a:srgbClr val="A4A3A4"/>
          </p15:clr>
        </p15:guide>
        <p15:guide id="26" pos="4566">
          <p15:clr>
            <a:srgbClr val="A4A3A4"/>
          </p15:clr>
        </p15:guide>
        <p15:guide id="27" pos="4793">
          <p15:clr>
            <a:srgbClr val="A4A3A4"/>
          </p15:clr>
        </p15:guide>
        <p15:guide id="28" pos="2887">
          <p15:clr>
            <a:srgbClr val="A4A3A4"/>
          </p15:clr>
        </p15:guide>
        <p15:guide id="29" orient="horz" pos="595">
          <p15:clr>
            <a:srgbClr val="A4A3A4"/>
          </p15:clr>
        </p15:guide>
        <p15:guide id="30" pos="574">
          <p15:clr>
            <a:srgbClr val="A4A3A4"/>
          </p15:clr>
        </p15:guide>
        <p15:guide id="31" orient="horz" pos="3952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5CC22B28-D1A3-4258-BEBE-87C642AD2342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38138" y="368300"/>
            <a:ext cx="9213850" cy="25380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lvl="0"/>
            <a:r>
              <a:rPr lang="de-DE"/>
              <a:t>Headlin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7A7899-1176-4714-BFC5-99E4DB99A754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38138" y="1592263"/>
            <a:ext cx="6910386" cy="46815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Erste Ebene für Fließtext (</a:t>
            </a:r>
            <a:r>
              <a:rPr lang="de-DE" err="1"/>
              <a:t>Inter</a:t>
            </a:r>
            <a:r>
              <a:rPr lang="de-DE"/>
              <a:t>, 12 </a:t>
            </a:r>
            <a:r>
              <a:rPr lang="de-DE" err="1"/>
              <a:t>pt</a:t>
            </a:r>
            <a:r>
              <a:rPr lang="de-DE"/>
              <a:t>, schwarz)</a:t>
            </a:r>
          </a:p>
          <a:p>
            <a:pPr lvl="1"/>
            <a:r>
              <a:rPr lang="de-DE"/>
              <a:t>Zweite Ebene für Fettungen/Hervorhebungen (</a:t>
            </a:r>
            <a:r>
              <a:rPr lang="de-DE" err="1"/>
              <a:t>Inter</a:t>
            </a:r>
            <a:r>
              <a:rPr lang="de-DE"/>
              <a:t> </a:t>
            </a:r>
            <a:r>
              <a:rPr lang="de-DE" err="1"/>
              <a:t>Semi</a:t>
            </a:r>
            <a:r>
              <a:rPr lang="de-DE"/>
              <a:t> </a:t>
            </a:r>
            <a:r>
              <a:rPr lang="de-DE" err="1"/>
              <a:t>Bold</a:t>
            </a:r>
            <a:r>
              <a:rPr lang="de-DE"/>
              <a:t>, 12pt, schwarz)</a:t>
            </a:r>
          </a:p>
          <a:p>
            <a:pPr lvl="2"/>
            <a:r>
              <a:rPr lang="de-DE"/>
              <a:t>Dritte Ebene für Bullet Points</a:t>
            </a:r>
          </a:p>
          <a:p>
            <a:pPr lvl="3"/>
            <a:r>
              <a:rPr lang="de-DE"/>
              <a:t>Vierte Ebene für Aufzählungen</a:t>
            </a:r>
          </a:p>
          <a:p>
            <a:pPr lvl="4"/>
            <a:r>
              <a:rPr lang="de-DE"/>
              <a:t>Fünfte Ebene für Aufzählungen</a:t>
            </a:r>
          </a:p>
          <a:p>
            <a:pPr lvl="5"/>
            <a:r>
              <a:rPr lang="de-DE"/>
              <a:t>Sechste Ebene für Highlights (</a:t>
            </a:r>
            <a:r>
              <a:rPr lang="de-DE" err="1"/>
              <a:t>Inter</a:t>
            </a:r>
            <a:r>
              <a:rPr lang="de-DE"/>
              <a:t> </a:t>
            </a:r>
            <a:r>
              <a:rPr lang="de-DE" err="1"/>
              <a:t>Semi</a:t>
            </a:r>
            <a:r>
              <a:rPr lang="de-DE"/>
              <a:t> </a:t>
            </a:r>
            <a:r>
              <a:rPr lang="de-DE" err="1"/>
              <a:t>Bold</a:t>
            </a:r>
            <a:r>
              <a:rPr lang="de-DE"/>
              <a:t>, 16pt, schwarz)</a:t>
            </a:r>
          </a:p>
          <a:p>
            <a:pPr lvl="6"/>
            <a:r>
              <a:rPr lang="de-DE"/>
              <a:t>Siebte Ebene für Highlights (</a:t>
            </a:r>
            <a:r>
              <a:rPr lang="de-DE" err="1"/>
              <a:t>Inter</a:t>
            </a:r>
            <a:r>
              <a:rPr lang="de-DE"/>
              <a:t> </a:t>
            </a:r>
            <a:r>
              <a:rPr lang="de-DE" err="1"/>
              <a:t>Semi</a:t>
            </a:r>
            <a:r>
              <a:rPr lang="de-DE"/>
              <a:t> </a:t>
            </a:r>
            <a:r>
              <a:rPr lang="de-DE" err="1"/>
              <a:t>Bold</a:t>
            </a:r>
            <a:r>
              <a:rPr lang="de-DE"/>
              <a:t>, 16pt, </a:t>
            </a:r>
            <a:r>
              <a:rPr lang="de-DE" err="1"/>
              <a:t>Highlightfarbe</a:t>
            </a:r>
            <a:r>
              <a:rPr lang="de-DE"/>
              <a:t>)</a:t>
            </a:r>
          </a:p>
          <a:p>
            <a:pPr lvl="7"/>
            <a:r>
              <a:rPr lang="de-DE"/>
              <a:t>Achte Ebene für Diagramm und Bildlegenden (</a:t>
            </a:r>
            <a:r>
              <a:rPr lang="de-DE" err="1"/>
              <a:t>Inter</a:t>
            </a:r>
            <a:r>
              <a:rPr lang="de-DE"/>
              <a:t>, 10pt, schwarz)</a:t>
            </a:r>
          </a:p>
          <a:p>
            <a:pPr lvl="8"/>
            <a:r>
              <a:rPr lang="de-DE"/>
              <a:t>Neunte Ebene (</a:t>
            </a:r>
            <a:r>
              <a:rPr lang="de-DE" err="1"/>
              <a:t>Inter</a:t>
            </a:r>
            <a:r>
              <a:rPr lang="de-DE"/>
              <a:t>, 10pt, schwarz)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9E6ADEB-3EA6-4FEA-9F5A-2E6A8A33C6A6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1160919" y="6491733"/>
            <a:ext cx="457993" cy="101671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fld id="{2EE19828-2479-4057-9A1B-21B7AA01D3A6}" type="datetime1">
              <a:rPr lang="de-DE" smtClean="0"/>
              <a:t>2022-01-1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C251B0C-0232-4145-8300-5B5D4ADF23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8401051" y="6491733"/>
            <a:ext cx="2522534" cy="101671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6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isk Report 2021 M03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44938F2-A076-4BF9-B690-BCB3E75B62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725538" y="6491733"/>
            <a:ext cx="191824" cy="101671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</a:lstStyle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4017B64D-C976-4728-A95B-0361BA6A9F0D}"/>
              </a:ext>
            </a:extLst>
          </p:cNvPr>
          <p:cNvCxnSpPr/>
          <p:nvPr/>
        </p:nvCxnSpPr>
        <p:spPr>
          <a:xfrm>
            <a:off x="334963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D9A3A56F-06AD-4760-9043-8DB8B80BE502}"/>
              </a:ext>
            </a:extLst>
          </p:cNvPr>
          <p:cNvCxnSpPr/>
          <p:nvPr/>
        </p:nvCxnSpPr>
        <p:spPr>
          <a:xfrm>
            <a:off x="148748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F8F10931-18F0-433A-AC5E-65EE1DB4129A}"/>
              </a:ext>
            </a:extLst>
          </p:cNvPr>
          <p:cNvCxnSpPr/>
          <p:nvPr/>
        </p:nvCxnSpPr>
        <p:spPr>
          <a:xfrm>
            <a:off x="2638426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EC514A1D-F749-449A-A2E6-22DCD7BF17C4}"/>
              </a:ext>
            </a:extLst>
          </p:cNvPr>
          <p:cNvCxnSpPr/>
          <p:nvPr/>
        </p:nvCxnSpPr>
        <p:spPr>
          <a:xfrm>
            <a:off x="379253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1E5009D7-6B73-43BE-99D0-59635A89BC75}"/>
              </a:ext>
            </a:extLst>
          </p:cNvPr>
          <p:cNvCxnSpPr/>
          <p:nvPr/>
        </p:nvCxnSpPr>
        <p:spPr>
          <a:xfrm>
            <a:off x="4583113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47D8A626-A7C6-4148-AA2E-CE5DD1A85F2B}"/>
              </a:ext>
            </a:extLst>
          </p:cNvPr>
          <p:cNvCxnSpPr/>
          <p:nvPr/>
        </p:nvCxnSpPr>
        <p:spPr>
          <a:xfrm>
            <a:off x="4943475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700E5437-43C6-4C8E-A7C8-B440ED623067}"/>
              </a:ext>
            </a:extLst>
          </p:cNvPr>
          <p:cNvCxnSpPr/>
          <p:nvPr/>
        </p:nvCxnSpPr>
        <p:spPr>
          <a:xfrm>
            <a:off x="6096000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4B502A48-F5B6-433B-9D20-478BFF854AB9}"/>
              </a:ext>
            </a:extLst>
          </p:cNvPr>
          <p:cNvCxnSpPr/>
          <p:nvPr/>
        </p:nvCxnSpPr>
        <p:spPr>
          <a:xfrm>
            <a:off x="7248525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7C098924-8A9C-4D31-86C0-B4768D507032}"/>
              </a:ext>
            </a:extLst>
          </p:cNvPr>
          <p:cNvCxnSpPr/>
          <p:nvPr/>
        </p:nvCxnSpPr>
        <p:spPr>
          <a:xfrm>
            <a:off x="760888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BB82E598-70AE-4F7F-814E-06127B5A3D6E}"/>
              </a:ext>
            </a:extLst>
          </p:cNvPr>
          <p:cNvCxnSpPr/>
          <p:nvPr/>
        </p:nvCxnSpPr>
        <p:spPr>
          <a:xfrm>
            <a:off x="1489076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904AB93B-662F-41BF-836C-D2D64FCC0FDA}"/>
              </a:ext>
            </a:extLst>
          </p:cNvPr>
          <p:cNvCxnSpPr/>
          <p:nvPr/>
        </p:nvCxnSpPr>
        <p:spPr>
          <a:xfrm>
            <a:off x="840263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7545D25C-D5C2-4FDF-A623-E9EDF6886996}"/>
              </a:ext>
            </a:extLst>
          </p:cNvPr>
          <p:cNvCxnSpPr/>
          <p:nvPr/>
        </p:nvCxnSpPr>
        <p:spPr>
          <a:xfrm>
            <a:off x="955198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E61AAA06-59B2-402E-90E3-0C2B22F1700C}"/>
              </a:ext>
            </a:extLst>
          </p:cNvPr>
          <p:cNvCxnSpPr/>
          <p:nvPr/>
        </p:nvCxnSpPr>
        <p:spPr>
          <a:xfrm>
            <a:off x="10704513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924D3566-C2E5-4256-B222-9F948B0D6F15}"/>
              </a:ext>
            </a:extLst>
          </p:cNvPr>
          <p:cNvCxnSpPr/>
          <p:nvPr/>
        </p:nvCxnSpPr>
        <p:spPr>
          <a:xfrm>
            <a:off x="1185703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CCC1A2F1-C1D4-4509-9549-141C62748335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3345892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F6EF8D5B-0767-456B-A9DA-545E5C27D79A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273470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DD892EA7-B98B-421F-B84B-657C787F0459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1511781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495E1BE4-7ABB-4D45-BC0E-60FB6EB13A8F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284153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r Verbinder 42">
            <a:extLst>
              <a:ext uri="{FF2B5EF4-FFF2-40B4-BE49-F238E27FC236}">
                <a16:creationId xmlns:a16="http://schemas.microsoft.com/office/drawing/2014/main" id="{C222D0B4-9309-49E0-94E2-FE83EFF03CB8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3958667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r Verbinder 44">
            <a:extLst>
              <a:ext uri="{FF2B5EF4-FFF2-40B4-BE49-F238E27FC236}">
                <a16:creationId xmlns:a16="http://schemas.microsoft.com/office/drawing/2014/main" id="{E903F861-086A-4C9C-88A0-544DD5D2EC87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5182629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r Verbinder 46">
            <a:extLst>
              <a:ext uri="{FF2B5EF4-FFF2-40B4-BE49-F238E27FC236}">
                <a16:creationId xmlns:a16="http://schemas.microsoft.com/office/drawing/2014/main" id="{9E85238A-46BC-4F2E-A0A0-F81B78C37DF4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6405553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8" name="Gruppieren 67">
            <a:extLst>
              <a:ext uri="{FF2B5EF4-FFF2-40B4-BE49-F238E27FC236}">
                <a16:creationId xmlns:a16="http://schemas.microsoft.com/office/drawing/2014/main" id="{2667818E-6A1E-4A4C-AFD4-C135288874B4}"/>
              </a:ext>
            </a:extLst>
          </p:cNvPr>
          <p:cNvGrpSpPr/>
          <p:nvPr/>
        </p:nvGrpSpPr>
        <p:grpSpPr>
          <a:xfrm>
            <a:off x="10990764" y="364362"/>
            <a:ext cx="867864" cy="231551"/>
            <a:chOff x="464743" y="1368699"/>
            <a:chExt cx="2380059" cy="635012"/>
          </a:xfrm>
        </p:grpSpPr>
        <p:sp>
          <p:nvSpPr>
            <p:cNvPr id="55" name="Oval 5">
              <a:extLst>
                <a:ext uri="{FF2B5EF4-FFF2-40B4-BE49-F238E27FC236}">
                  <a16:creationId xmlns:a16="http://schemas.microsoft.com/office/drawing/2014/main" id="{C189E95A-38EA-45B6-9D02-6E1D97071C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56" name="Freeform 6">
              <a:extLst>
                <a:ext uri="{FF2B5EF4-FFF2-40B4-BE49-F238E27FC236}">
                  <a16:creationId xmlns:a16="http://schemas.microsoft.com/office/drawing/2014/main" id="{D2EEF067-6E8B-4787-9FDF-44E23FF2BA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57" name="Gruppieren 56">
              <a:extLst>
                <a:ext uri="{FF2B5EF4-FFF2-40B4-BE49-F238E27FC236}">
                  <a16:creationId xmlns:a16="http://schemas.microsoft.com/office/drawing/2014/main" id="{B766481E-25DF-4E9E-8BB7-4E620E81A44B}"/>
                </a:ext>
              </a:extLst>
            </p:cNvPr>
            <p:cNvGrpSpPr/>
            <p:nvPr/>
          </p:nvGrpSpPr>
          <p:grpSpPr>
            <a:xfrm>
              <a:off x="1311220" y="1530566"/>
              <a:ext cx="1533582" cy="307587"/>
              <a:chOff x="3987943" y="2307132"/>
              <a:chExt cx="2607166" cy="522910"/>
            </a:xfrm>
          </p:grpSpPr>
          <p:sp>
            <p:nvSpPr>
              <p:cNvPr id="58" name="Freeform 7">
                <a:extLst>
                  <a:ext uri="{FF2B5EF4-FFF2-40B4-BE49-F238E27FC236}">
                    <a16:creationId xmlns:a16="http://schemas.microsoft.com/office/drawing/2014/main" id="{4D630AF5-8630-4F31-9C90-CB14509D63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59" name="Freeform 8">
                <a:extLst>
                  <a:ext uri="{FF2B5EF4-FFF2-40B4-BE49-F238E27FC236}">
                    <a16:creationId xmlns:a16="http://schemas.microsoft.com/office/drawing/2014/main" id="{D7054DC7-CBA2-4C25-9F87-1FD140BC82D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0" name="Freeform 9">
                <a:extLst>
                  <a:ext uri="{FF2B5EF4-FFF2-40B4-BE49-F238E27FC236}">
                    <a16:creationId xmlns:a16="http://schemas.microsoft.com/office/drawing/2014/main" id="{4A833CE3-BEE9-415B-AC22-C39DBFA7A1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1" name="Freeform 10">
                <a:extLst>
                  <a:ext uri="{FF2B5EF4-FFF2-40B4-BE49-F238E27FC236}">
                    <a16:creationId xmlns:a16="http://schemas.microsoft.com/office/drawing/2014/main" id="{EE226485-6678-4B19-8051-5EC8249F4E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2" name="Freeform 11">
                <a:extLst>
                  <a:ext uri="{FF2B5EF4-FFF2-40B4-BE49-F238E27FC236}">
                    <a16:creationId xmlns:a16="http://schemas.microsoft.com/office/drawing/2014/main" id="{3BD573E8-29EC-4613-8FCC-EA264FFB7C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3" name="Freeform 12">
                <a:extLst>
                  <a:ext uri="{FF2B5EF4-FFF2-40B4-BE49-F238E27FC236}">
                    <a16:creationId xmlns:a16="http://schemas.microsoft.com/office/drawing/2014/main" id="{1045D026-AE12-444C-A892-8710BC1CC65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4" name="Freeform 13">
                <a:extLst>
                  <a:ext uri="{FF2B5EF4-FFF2-40B4-BE49-F238E27FC236}">
                    <a16:creationId xmlns:a16="http://schemas.microsoft.com/office/drawing/2014/main" id="{969A310D-4C62-4F20-8DB3-23D3EB19BD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5" name="Freeform 14">
                <a:extLst>
                  <a:ext uri="{FF2B5EF4-FFF2-40B4-BE49-F238E27FC236}">
                    <a16:creationId xmlns:a16="http://schemas.microsoft.com/office/drawing/2014/main" id="{82405CCE-A18D-49D5-AEEB-9BB84F66B20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6" name="Freeform 15">
                <a:extLst>
                  <a:ext uri="{FF2B5EF4-FFF2-40B4-BE49-F238E27FC236}">
                    <a16:creationId xmlns:a16="http://schemas.microsoft.com/office/drawing/2014/main" id="{76EB0AFD-7208-4A2E-8C9C-242989F4AD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7" name="Freeform 16">
                <a:extLst>
                  <a:ext uri="{FF2B5EF4-FFF2-40B4-BE49-F238E27FC236}">
                    <a16:creationId xmlns:a16="http://schemas.microsoft.com/office/drawing/2014/main" id="{BEDD3FC9-69F4-4907-86DD-5EA7BF30CC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cxnSp>
        <p:nvCxnSpPr>
          <p:cNvPr id="44" name="Gerader Verbinder 43">
            <a:extLst>
              <a:ext uri="{FF2B5EF4-FFF2-40B4-BE49-F238E27FC236}">
                <a16:creationId xmlns:a16="http://schemas.microsoft.com/office/drawing/2014/main" id="{5CC5A9D1-9CF7-4E59-BAA9-6A78649E671E}"/>
              </a:ext>
            </a:extLst>
          </p:cNvPr>
          <p:cNvCxnSpPr/>
          <p:nvPr/>
        </p:nvCxnSpPr>
        <p:spPr>
          <a:xfrm>
            <a:off x="915988" y="-214869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r Verbinder 45">
            <a:extLst>
              <a:ext uri="{FF2B5EF4-FFF2-40B4-BE49-F238E27FC236}">
                <a16:creationId xmlns:a16="http://schemas.microsoft.com/office/drawing/2014/main" id="{95F228BC-9A41-463D-A2F8-D207142622B9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860416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r Verbinder 46">
            <a:extLst>
              <a:ext uri="{FF2B5EF4-FFF2-40B4-BE49-F238E27FC236}">
                <a16:creationId xmlns:a16="http://schemas.microsoft.com/office/drawing/2014/main" id="{4CBADD73-442D-401E-8359-40CE07D446F5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6189653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14150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  <p:sldLayoutId id="2147483734" r:id="rId5"/>
    <p:sldLayoutId id="2147483735" r:id="rId6"/>
    <p:sldLayoutId id="2147483736" r:id="rId7"/>
    <p:sldLayoutId id="2147483737" r:id="rId8"/>
    <p:sldLayoutId id="2147483738" r:id="rId9"/>
    <p:sldLayoutId id="2147483739" r:id="rId10"/>
    <p:sldLayoutId id="2147483740" r:id="rId11"/>
    <p:sldLayoutId id="2147483741" r:id="rId12"/>
    <p:sldLayoutId id="2147483742" r:id="rId13"/>
    <p:sldLayoutId id="2147483743" r:id="rId14"/>
    <p:sldLayoutId id="2147483744" r:id="rId15"/>
    <p:sldLayoutId id="2147483745" r:id="rId16"/>
    <p:sldLayoutId id="2147483746" r:id="rId17"/>
    <p:sldLayoutId id="2147483747" r:id="rId18"/>
    <p:sldLayoutId id="2147483748" r:id="rId19"/>
    <p:sldLayoutId id="2147483749" r:id="rId20"/>
    <p:sldLayoutId id="2147483750" r:id="rId21"/>
    <p:sldLayoutId id="2147483751" r:id="rId22"/>
    <p:sldLayoutId id="2147483752" r:id="rId23"/>
    <p:sldLayoutId id="2147483753" r:id="rId24"/>
    <p:sldLayoutId id="2147483754" r:id="rId25"/>
    <p:sldLayoutId id="2147483755" r:id="rId26"/>
    <p:sldLayoutId id="2147483756" r:id="rId27"/>
    <p:sldLayoutId id="2147483757" r:id="rId28"/>
    <p:sldLayoutId id="2147483758" r:id="rId2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de-DE" sz="2400" kern="1200" baseline="0" dirty="0">
          <a:solidFill>
            <a:schemeClr val="tx1"/>
          </a:solidFill>
          <a:latin typeface="Officina Sans ITC Pro Medium" panose="020C0606030503020204" pitchFamily="34" charset="0"/>
          <a:ea typeface="Inter Medium" panose="020B0502030000000004" pitchFamily="34" charset="0"/>
          <a:cs typeface="+mn-cs"/>
        </a:defRPr>
      </a:lvl1pPr>
      <a:lvl2pPr algn="l" eaLnBrk="1" hangingPunct="1">
        <a:defRPr sz="2400" kern="1200" baseline="0">
          <a:solidFill>
            <a:schemeClr val="tx1"/>
          </a:solidFill>
          <a:latin typeface="+mj-lt"/>
        </a:defRPr>
      </a:lvl2pPr>
      <a:lvl3pPr algn="l" eaLnBrk="1" hangingPunct="1">
        <a:defRPr sz="2400" kern="1200" baseline="0">
          <a:solidFill>
            <a:schemeClr val="tx1"/>
          </a:solidFill>
          <a:latin typeface="+mj-lt"/>
        </a:defRPr>
      </a:lvl3pPr>
      <a:lvl4pPr algn="l" eaLnBrk="1" hangingPunct="1">
        <a:defRPr sz="2400" b="0" kern="1200" baseline="0">
          <a:solidFill>
            <a:schemeClr val="tx1"/>
          </a:solidFill>
          <a:latin typeface="+mj-lt"/>
        </a:defRPr>
      </a:lvl4pPr>
      <a:lvl5pPr algn="l" eaLnBrk="1" hangingPunct="1">
        <a:defRPr sz="2400" kern="1200" baseline="0">
          <a:solidFill>
            <a:schemeClr val="tx1"/>
          </a:solidFill>
          <a:latin typeface="+mj-lt"/>
        </a:defRPr>
      </a:lvl5pPr>
      <a:lvl6pPr algn="l" eaLnBrk="1" hangingPunct="1">
        <a:defRPr sz="2400" kern="1200" baseline="0">
          <a:solidFill>
            <a:schemeClr val="tx1"/>
          </a:solidFill>
          <a:latin typeface="+mj-lt"/>
        </a:defRPr>
      </a:lvl6pPr>
      <a:lvl7pPr algn="l" eaLnBrk="1" hangingPunct="1">
        <a:defRPr sz="2400" kern="1200" baseline="0">
          <a:solidFill>
            <a:schemeClr val="tx1"/>
          </a:solidFill>
          <a:latin typeface="+mj-lt"/>
        </a:defRPr>
      </a:lvl7pPr>
      <a:lvl8pPr algn="l" eaLnBrk="1" hangingPunct="1">
        <a:defRPr sz="2400" kern="1200" baseline="0">
          <a:solidFill>
            <a:schemeClr val="tx1"/>
          </a:solidFill>
          <a:latin typeface="+mj-lt"/>
        </a:defRPr>
      </a:lvl8pPr>
      <a:lvl9pPr algn="l" eaLnBrk="1" hangingPunct="1">
        <a:defRPr sz="2400" kern="1200" baseline="0">
          <a:solidFill>
            <a:schemeClr val="tx1"/>
          </a:solidFill>
          <a:latin typeface="+mj-lt"/>
        </a:defRPr>
      </a:lvl9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32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SzPct val="90000"/>
        <a:buFont typeface="Inter Semi Bold" panose="020B0702030000000004" pitchFamily="34" charset="0"/>
        <a:buChar char="○"/>
        <a:defRPr lang="de-DE" sz="1200" b="0" kern="1200" dirty="0">
          <a:solidFill>
            <a:schemeClr val="tx1"/>
          </a:solidFill>
          <a:latin typeface="Inter Semi Bold" panose="020B0702030000000004" pitchFamily="34" charset="0"/>
          <a:ea typeface="Inter Semi Bold" panose="020B0702030000000004" pitchFamily="34" charset="0"/>
          <a:cs typeface="+mn-cs"/>
        </a:defRPr>
      </a:lvl2pPr>
      <a:lvl3pPr marL="720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-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+mj-lt"/>
        <a:buAutoNum type="arabicPeriod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+mj-lt"/>
        <a:buAutoNum type="alphaLcPeriod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600" b="0" kern="1200">
          <a:solidFill>
            <a:schemeClr val="tx1"/>
          </a:solidFill>
          <a:latin typeface="Inter Semi Bold" panose="020B0702030000000004" pitchFamily="34" charset="0"/>
          <a:ea typeface="Inter Semi Bold" panose="020B0702030000000004" pitchFamily="34" charset="0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600" b="0" kern="1200">
          <a:solidFill>
            <a:schemeClr val="accent1"/>
          </a:solidFill>
          <a:latin typeface="Inter Semi Bold" panose="020B0702030000000004" pitchFamily="34" charset="0"/>
          <a:ea typeface="Inter Semi Bold" panose="020B0702030000000004" pitchFamily="34" charset="0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F26B43"/>
          </p15:clr>
        </p15:guide>
        <p15:guide id="10" orient="horz" pos="2546">
          <p15:clr>
            <a:srgbClr val="A4A3A4"/>
          </p15:clr>
        </p15:guide>
        <p15:guide id="11" orient="horz" pos="1774">
          <p15:clr>
            <a:srgbClr val="A4A3A4"/>
          </p15:clr>
        </p15:guide>
        <p15:guide id="12" orient="horz" pos="1003">
          <p15:clr>
            <a:srgbClr val="F26B43"/>
          </p15:clr>
        </p15:guide>
        <p15:guide id="13" orient="horz" pos="3317">
          <p15:clr>
            <a:srgbClr val="A4A3A4"/>
          </p15:clr>
        </p15:guide>
        <p15:guide id="14" orient="horz" pos="4088">
          <p15:clr>
            <a:srgbClr val="A4A3A4"/>
          </p15:clr>
        </p15:guide>
        <p15:guide id="15" orient="horz" pos="232">
          <p15:clr>
            <a:srgbClr val="F26B43"/>
          </p15:clr>
        </p15:guide>
        <p15:guide id="17" pos="211">
          <p15:clr>
            <a:srgbClr val="F26B43"/>
          </p15:clr>
        </p15:guide>
        <p15:guide id="18" pos="7469">
          <p15:clr>
            <a:srgbClr val="F26B43"/>
          </p15:clr>
        </p15:guide>
        <p15:guide id="19" pos="6743">
          <p15:clr>
            <a:srgbClr val="A4A3A4"/>
          </p15:clr>
        </p15:guide>
        <p15:guide id="20" pos="937">
          <p15:clr>
            <a:srgbClr val="A4A3A4"/>
          </p15:clr>
        </p15:guide>
        <p15:guide id="21" pos="1663">
          <p15:clr>
            <a:srgbClr val="A4A3A4"/>
          </p15:clr>
        </p15:guide>
        <p15:guide id="22" pos="2389">
          <p15:clr>
            <a:srgbClr val="A4A3A4"/>
          </p15:clr>
        </p15:guide>
        <p15:guide id="23" pos="5292">
          <p15:clr>
            <a:srgbClr val="A4A3A4"/>
          </p15:clr>
        </p15:guide>
        <p15:guide id="24" pos="6017">
          <p15:clr>
            <a:srgbClr val="A4A3A4"/>
          </p15:clr>
        </p15:guide>
        <p15:guide id="25" pos="3114">
          <p15:clr>
            <a:srgbClr val="A4A3A4"/>
          </p15:clr>
        </p15:guide>
        <p15:guide id="26" pos="4566">
          <p15:clr>
            <a:srgbClr val="A4A3A4"/>
          </p15:clr>
        </p15:guide>
        <p15:guide id="27" pos="4793">
          <p15:clr>
            <a:srgbClr val="A4A3A4"/>
          </p15:clr>
        </p15:guide>
        <p15:guide id="28" pos="2887">
          <p15:clr>
            <a:srgbClr val="A4A3A4"/>
          </p15:clr>
        </p15:guide>
        <p15:guide id="29" orient="horz" pos="595">
          <p15:clr>
            <a:srgbClr val="A4A3A4"/>
          </p15:clr>
        </p15:guide>
        <p15:guide id="30" pos="574">
          <p15:clr>
            <a:srgbClr val="A4A3A4"/>
          </p15:clr>
        </p15:guide>
        <p15:guide id="31" orient="horz" pos="3952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5CC22B28-D1A3-4258-BEBE-87C642AD2342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38138" y="368300"/>
            <a:ext cx="9213850" cy="25380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lvl="0"/>
            <a:r>
              <a:rPr lang="de-DE"/>
              <a:t>Headlin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7A7899-1176-4714-BFC5-99E4DB99A754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38138" y="1592263"/>
            <a:ext cx="6910386" cy="46815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Erste Ebene für Fließtext (</a:t>
            </a:r>
            <a:r>
              <a:rPr lang="de-DE" err="1"/>
              <a:t>Inter</a:t>
            </a:r>
            <a:r>
              <a:rPr lang="de-DE"/>
              <a:t>, 12 </a:t>
            </a:r>
            <a:r>
              <a:rPr lang="de-DE" err="1"/>
              <a:t>pt</a:t>
            </a:r>
            <a:r>
              <a:rPr lang="de-DE"/>
              <a:t>, schwarz)</a:t>
            </a:r>
          </a:p>
          <a:p>
            <a:pPr lvl="1"/>
            <a:r>
              <a:rPr lang="de-DE"/>
              <a:t>Zweite Ebene für Fettungen/Hervorhebungen (</a:t>
            </a:r>
            <a:r>
              <a:rPr lang="de-DE" err="1"/>
              <a:t>Inter</a:t>
            </a:r>
            <a:r>
              <a:rPr lang="de-DE"/>
              <a:t> </a:t>
            </a:r>
            <a:r>
              <a:rPr lang="de-DE" err="1"/>
              <a:t>Semi</a:t>
            </a:r>
            <a:r>
              <a:rPr lang="de-DE"/>
              <a:t> </a:t>
            </a:r>
            <a:r>
              <a:rPr lang="de-DE" err="1"/>
              <a:t>Bold</a:t>
            </a:r>
            <a:r>
              <a:rPr lang="de-DE"/>
              <a:t>, 12pt, schwarz)</a:t>
            </a:r>
          </a:p>
          <a:p>
            <a:pPr lvl="2"/>
            <a:r>
              <a:rPr lang="de-DE"/>
              <a:t>Dritte Ebene für Bullet Points</a:t>
            </a:r>
          </a:p>
          <a:p>
            <a:pPr lvl="3"/>
            <a:r>
              <a:rPr lang="de-DE"/>
              <a:t>Vierte Ebene für Aufzählungen</a:t>
            </a:r>
          </a:p>
          <a:p>
            <a:pPr lvl="4"/>
            <a:r>
              <a:rPr lang="de-DE"/>
              <a:t>Fünfte Ebene für Aufzählungen</a:t>
            </a:r>
          </a:p>
          <a:p>
            <a:pPr lvl="5"/>
            <a:r>
              <a:rPr lang="de-DE"/>
              <a:t>Sechste Ebene für Highlights (</a:t>
            </a:r>
            <a:r>
              <a:rPr lang="de-DE" err="1"/>
              <a:t>Inter</a:t>
            </a:r>
            <a:r>
              <a:rPr lang="de-DE"/>
              <a:t> </a:t>
            </a:r>
            <a:r>
              <a:rPr lang="de-DE" err="1"/>
              <a:t>Semi</a:t>
            </a:r>
            <a:r>
              <a:rPr lang="de-DE"/>
              <a:t> </a:t>
            </a:r>
            <a:r>
              <a:rPr lang="de-DE" err="1"/>
              <a:t>Bold</a:t>
            </a:r>
            <a:r>
              <a:rPr lang="de-DE"/>
              <a:t>, 16pt, schwarz)</a:t>
            </a:r>
          </a:p>
          <a:p>
            <a:pPr lvl="6"/>
            <a:r>
              <a:rPr lang="de-DE"/>
              <a:t>Siebte Ebene für Highlights (</a:t>
            </a:r>
            <a:r>
              <a:rPr lang="de-DE" err="1"/>
              <a:t>Inter</a:t>
            </a:r>
            <a:r>
              <a:rPr lang="de-DE"/>
              <a:t> </a:t>
            </a:r>
            <a:r>
              <a:rPr lang="de-DE" err="1"/>
              <a:t>Semi</a:t>
            </a:r>
            <a:r>
              <a:rPr lang="de-DE"/>
              <a:t> </a:t>
            </a:r>
            <a:r>
              <a:rPr lang="de-DE" err="1"/>
              <a:t>Bold</a:t>
            </a:r>
            <a:r>
              <a:rPr lang="de-DE"/>
              <a:t>, 16pt, </a:t>
            </a:r>
            <a:r>
              <a:rPr lang="de-DE" err="1"/>
              <a:t>Highlightfarbe</a:t>
            </a:r>
            <a:r>
              <a:rPr lang="de-DE"/>
              <a:t>)</a:t>
            </a:r>
          </a:p>
          <a:p>
            <a:pPr lvl="7"/>
            <a:r>
              <a:rPr lang="de-DE"/>
              <a:t>Achte Ebene für Diagramm und Bildlegenden (</a:t>
            </a:r>
            <a:r>
              <a:rPr lang="de-DE" err="1"/>
              <a:t>Inter</a:t>
            </a:r>
            <a:r>
              <a:rPr lang="de-DE"/>
              <a:t>, 10pt, schwarz)</a:t>
            </a:r>
          </a:p>
          <a:p>
            <a:pPr lvl="8"/>
            <a:r>
              <a:rPr lang="de-DE"/>
              <a:t>Neunte Ebene (</a:t>
            </a:r>
            <a:r>
              <a:rPr lang="de-DE" err="1"/>
              <a:t>Inter</a:t>
            </a:r>
            <a:r>
              <a:rPr lang="de-DE"/>
              <a:t>, 10pt, schwarz)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9E6ADEB-3EA6-4FEA-9F5A-2E6A8A33C6A6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1160919" y="6491733"/>
            <a:ext cx="457993" cy="101671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fld id="{49F36F44-C97F-465D-9666-60259F58CA4A}" type="datetime1">
              <a:rPr lang="de-DE" smtClean="0"/>
              <a:t>2022-01-1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C251B0C-0232-4145-8300-5B5D4ADF23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8401051" y="6491733"/>
            <a:ext cx="2522534" cy="101671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6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isk Report 2021 M03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44938F2-A076-4BF9-B690-BCB3E75B62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725538" y="6491733"/>
            <a:ext cx="191824" cy="101671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</a:lstStyle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4017B64D-C976-4728-A95B-0361BA6A9F0D}"/>
              </a:ext>
            </a:extLst>
          </p:cNvPr>
          <p:cNvCxnSpPr/>
          <p:nvPr/>
        </p:nvCxnSpPr>
        <p:spPr>
          <a:xfrm>
            <a:off x="334963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D9A3A56F-06AD-4760-9043-8DB8B80BE502}"/>
              </a:ext>
            </a:extLst>
          </p:cNvPr>
          <p:cNvCxnSpPr/>
          <p:nvPr/>
        </p:nvCxnSpPr>
        <p:spPr>
          <a:xfrm>
            <a:off x="148748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F8F10931-18F0-433A-AC5E-65EE1DB4129A}"/>
              </a:ext>
            </a:extLst>
          </p:cNvPr>
          <p:cNvCxnSpPr/>
          <p:nvPr/>
        </p:nvCxnSpPr>
        <p:spPr>
          <a:xfrm>
            <a:off x="2638426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EC514A1D-F749-449A-A2E6-22DCD7BF17C4}"/>
              </a:ext>
            </a:extLst>
          </p:cNvPr>
          <p:cNvCxnSpPr/>
          <p:nvPr/>
        </p:nvCxnSpPr>
        <p:spPr>
          <a:xfrm>
            <a:off x="379253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1E5009D7-6B73-43BE-99D0-59635A89BC75}"/>
              </a:ext>
            </a:extLst>
          </p:cNvPr>
          <p:cNvCxnSpPr/>
          <p:nvPr/>
        </p:nvCxnSpPr>
        <p:spPr>
          <a:xfrm>
            <a:off x="4583113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47D8A626-A7C6-4148-AA2E-CE5DD1A85F2B}"/>
              </a:ext>
            </a:extLst>
          </p:cNvPr>
          <p:cNvCxnSpPr/>
          <p:nvPr/>
        </p:nvCxnSpPr>
        <p:spPr>
          <a:xfrm>
            <a:off x="4943475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700E5437-43C6-4C8E-A7C8-B440ED623067}"/>
              </a:ext>
            </a:extLst>
          </p:cNvPr>
          <p:cNvCxnSpPr/>
          <p:nvPr/>
        </p:nvCxnSpPr>
        <p:spPr>
          <a:xfrm>
            <a:off x="6096000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4B502A48-F5B6-433B-9D20-478BFF854AB9}"/>
              </a:ext>
            </a:extLst>
          </p:cNvPr>
          <p:cNvCxnSpPr/>
          <p:nvPr/>
        </p:nvCxnSpPr>
        <p:spPr>
          <a:xfrm>
            <a:off x="7248525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7C098924-8A9C-4D31-86C0-B4768D507032}"/>
              </a:ext>
            </a:extLst>
          </p:cNvPr>
          <p:cNvCxnSpPr/>
          <p:nvPr/>
        </p:nvCxnSpPr>
        <p:spPr>
          <a:xfrm>
            <a:off x="760888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BB82E598-70AE-4F7F-814E-06127B5A3D6E}"/>
              </a:ext>
            </a:extLst>
          </p:cNvPr>
          <p:cNvCxnSpPr/>
          <p:nvPr/>
        </p:nvCxnSpPr>
        <p:spPr>
          <a:xfrm>
            <a:off x="1489076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904AB93B-662F-41BF-836C-D2D64FCC0FDA}"/>
              </a:ext>
            </a:extLst>
          </p:cNvPr>
          <p:cNvCxnSpPr/>
          <p:nvPr/>
        </p:nvCxnSpPr>
        <p:spPr>
          <a:xfrm>
            <a:off x="840263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7545D25C-D5C2-4FDF-A623-E9EDF6886996}"/>
              </a:ext>
            </a:extLst>
          </p:cNvPr>
          <p:cNvCxnSpPr/>
          <p:nvPr/>
        </p:nvCxnSpPr>
        <p:spPr>
          <a:xfrm>
            <a:off x="955198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E61AAA06-59B2-402E-90E3-0C2B22F1700C}"/>
              </a:ext>
            </a:extLst>
          </p:cNvPr>
          <p:cNvCxnSpPr/>
          <p:nvPr/>
        </p:nvCxnSpPr>
        <p:spPr>
          <a:xfrm>
            <a:off x="10704513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924D3566-C2E5-4256-B222-9F948B0D6F15}"/>
              </a:ext>
            </a:extLst>
          </p:cNvPr>
          <p:cNvCxnSpPr/>
          <p:nvPr/>
        </p:nvCxnSpPr>
        <p:spPr>
          <a:xfrm>
            <a:off x="1185703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CCC1A2F1-C1D4-4509-9549-141C62748335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3345892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F6EF8D5B-0767-456B-A9DA-545E5C27D79A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273470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DD892EA7-B98B-421F-B84B-657C787F0459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1511781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495E1BE4-7ABB-4D45-BC0E-60FB6EB13A8F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284153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r Verbinder 42">
            <a:extLst>
              <a:ext uri="{FF2B5EF4-FFF2-40B4-BE49-F238E27FC236}">
                <a16:creationId xmlns:a16="http://schemas.microsoft.com/office/drawing/2014/main" id="{C222D0B4-9309-49E0-94E2-FE83EFF03CB8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3958667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r Verbinder 44">
            <a:extLst>
              <a:ext uri="{FF2B5EF4-FFF2-40B4-BE49-F238E27FC236}">
                <a16:creationId xmlns:a16="http://schemas.microsoft.com/office/drawing/2014/main" id="{E903F861-086A-4C9C-88A0-544DD5D2EC87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5182629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r Verbinder 46">
            <a:extLst>
              <a:ext uri="{FF2B5EF4-FFF2-40B4-BE49-F238E27FC236}">
                <a16:creationId xmlns:a16="http://schemas.microsoft.com/office/drawing/2014/main" id="{9E85238A-46BC-4F2E-A0A0-F81B78C37DF4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6405553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8" name="Gruppieren 67">
            <a:extLst>
              <a:ext uri="{FF2B5EF4-FFF2-40B4-BE49-F238E27FC236}">
                <a16:creationId xmlns:a16="http://schemas.microsoft.com/office/drawing/2014/main" id="{2667818E-6A1E-4A4C-AFD4-C135288874B4}"/>
              </a:ext>
            </a:extLst>
          </p:cNvPr>
          <p:cNvGrpSpPr/>
          <p:nvPr/>
        </p:nvGrpSpPr>
        <p:grpSpPr>
          <a:xfrm>
            <a:off x="10990764" y="364362"/>
            <a:ext cx="867864" cy="231551"/>
            <a:chOff x="464743" y="1368699"/>
            <a:chExt cx="2380059" cy="635012"/>
          </a:xfrm>
        </p:grpSpPr>
        <p:sp>
          <p:nvSpPr>
            <p:cNvPr id="55" name="Oval 5">
              <a:extLst>
                <a:ext uri="{FF2B5EF4-FFF2-40B4-BE49-F238E27FC236}">
                  <a16:creationId xmlns:a16="http://schemas.microsoft.com/office/drawing/2014/main" id="{C189E95A-38EA-45B6-9D02-6E1D97071C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56" name="Freeform 6">
              <a:extLst>
                <a:ext uri="{FF2B5EF4-FFF2-40B4-BE49-F238E27FC236}">
                  <a16:creationId xmlns:a16="http://schemas.microsoft.com/office/drawing/2014/main" id="{D2EEF067-6E8B-4787-9FDF-44E23FF2BA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57" name="Gruppieren 56">
              <a:extLst>
                <a:ext uri="{FF2B5EF4-FFF2-40B4-BE49-F238E27FC236}">
                  <a16:creationId xmlns:a16="http://schemas.microsoft.com/office/drawing/2014/main" id="{B766481E-25DF-4E9E-8BB7-4E620E81A44B}"/>
                </a:ext>
              </a:extLst>
            </p:cNvPr>
            <p:cNvGrpSpPr/>
            <p:nvPr/>
          </p:nvGrpSpPr>
          <p:grpSpPr>
            <a:xfrm>
              <a:off x="1311220" y="1530566"/>
              <a:ext cx="1533582" cy="307587"/>
              <a:chOff x="3987943" y="2307132"/>
              <a:chExt cx="2607166" cy="522910"/>
            </a:xfrm>
          </p:grpSpPr>
          <p:sp>
            <p:nvSpPr>
              <p:cNvPr id="58" name="Freeform 7">
                <a:extLst>
                  <a:ext uri="{FF2B5EF4-FFF2-40B4-BE49-F238E27FC236}">
                    <a16:creationId xmlns:a16="http://schemas.microsoft.com/office/drawing/2014/main" id="{4D630AF5-8630-4F31-9C90-CB14509D63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59" name="Freeform 8">
                <a:extLst>
                  <a:ext uri="{FF2B5EF4-FFF2-40B4-BE49-F238E27FC236}">
                    <a16:creationId xmlns:a16="http://schemas.microsoft.com/office/drawing/2014/main" id="{D7054DC7-CBA2-4C25-9F87-1FD140BC82D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0" name="Freeform 9">
                <a:extLst>
                  <a:ext uri="{FF2B5EF4-FFF2-40B4-BE49-F238E27FC236}">
                    <a16:creationId xmlns:a16="http://schemas.microsoft.com/office/drawing/2014/main" id="{4A833CE3-BEE9-415B-AC22-C39DBFA7A1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1" name="Freeform 10">
                <a:extLst>
                  <a:ext uri="{FF2B5EF4-FFF2-40B4-BE49-F238E27FC236}">
                    <a16:creationId xmlns:a16="http://schemas.microsoft.com/office/drawing/2014/main" id="{EE226485-6678-4B19-8051-5EC8249F4E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2" name="Freeform 11">
                <a:extLst>
                  <a:ext uri="{FF2B5EF4-FFF2-40B4-BE49-F238E27FC236}">
                    <a16:creationId xmlns:a16="http://schemas.microsoft.com/office/drawing/2014/main" id="{3BD573E8-29EC-4613-8FCC-EA264FFB7C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3" name="Freeform 12">
                <a:extLst>
                  <a:ext uri="{FF2B5EF4-FFF2-40B4-BE49-F238E27FC236}">
                    <a16:creationId xmlns:a16="http://schemas.microsoft.com/office/drawing/2014/main" id="{1045D026-AE12-444C-A892-8710BC1CC65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4" name="Freeform 13">
                <a:extLst>
                  <a:ext uri="{FF2B5EF4-FFF2-40B4-BE49-F238E27FC236}">
                    <a16:creationId xmlns:a16="http://schemas.microsoft.com/office/drawing/2014/main" id="{969A310D-4C62-4F20-8DB3-23D3EB19BD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5" name="Freeform 14">
                <a:extLst>
                  <a:ext uri="{FF2B5EF4-FFF2-40B4-BE49-F238E27FC236}">
                    <a16:creationId xmlns:a16="http://schemas.microsoft.com/office/drawing/2014/main" id="{82405CCE-A18D-49D5-AEEB-9BB84F66B20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6" name="Freeform 15">
                <a:extLst>
                  <a:ext uri="{FF2B5EF4-FFF2-40B4-BE49-F238E27FC236}">
                    <a16:creationId xmlns:a16="http://schemas.microsoft.com/office/drawing/2014/main" id="{76EB0AFD-7208-4A2E-8C9C-242989F4AD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7" name="Freeform 16">
                <a:extLst>
                  <a:ext uri="{FF2B5EF4-FFF2-40B4-BE49-F238E27FC236}">
                    <a16:creationId xmlns:a16="http://schemas.microsoft.com/office/drawing/2014/main" id="{BEDD3FC9-69F4-4907-86DD-5EA7BF30CC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cxnSp>
        <p:nvCxnSpPr>
          <p:cNvPr id="44" name="Gerader Verbinder 43">
            <a:extLst>
              <a:ext uri="{FF2B5EF4-FFF2-40B4-BE49-F238E27FC236}">
                <a16:creationId xmlns:a16="http://schemas.microsoft.com/office/drawing/2014/main" id="{5CC5A9D1-9CF7-4E59-BAA9-6A78649E671E}"/>
              </a:ext>
            </a:extLst>
          </p:cNvPr>
          <p:cNvCxnSpPr/>
          <p:nvPr/>
        </p:nvCxnSpPr>
        <p:spPr>
          <a:xfrm>
            <a:off x="915988" y="-214869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r Verbinder 45">
            <a:extLst>
              <a:ext uri="{FF2B5EF4-FFF2-40B4-BE49-F238E27FC236}">
                <a16:creationId xmlns:a16="http://schemas.microsoft.com/office/drawing/2014/main" id="{3839C84B-5F41-4BA8-8440-CC55EBF8E415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860416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r Verbinder 46">
            <a:extLst>
              <a:ext uri="{FF2B5EF4-FFF2-40B4-BE49-F238E27FC236}">
                <a16:creationId xmlns:a16="http://schemas.microsoft.com/office/drawing/2014/main" id="{618B3B3D-5474-4A45-AA71-C555752272F8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6189653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410339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  <p:sldLayoutId id="2147483764" r:id="rId5"/>
    <p:sldLayoutId id="2147483765" r:id="rId6"/>
    <p:sldLayoutId id="2147483766" r:id="rId7"/>
    <p:sldLayoutId id="2147483767" r:id="rId8"/>
    <p:sldLayoutId id="2147483768" r:id="rId9"/>
    <p:sldLayoutId id="2147483769" r:id="rId10"/>
    <p:sldLayoutId id="2147483770" r:id="rId11"/>
    <p:sldLayoutId id="2147483771" r:id="rId12"/>
    <p:sldLayoutId id="2147483772" r:id="rId13"/>
    <p:sldLayoutId id="2147483773" r:id="rId14"/>
    <p:sldLayoutId id="2147483774" r:id="rId15"/>
    <p:sldLayoutId id="2147483775" r:id="rId16"/>
    <p:sldLayoutId id="2147483776" r:id="rId17"/>
    <p:sldLayoutId id="2147483777" r:id="rId18"/>
    <p:sldLayoutId id="2147483778" r:id="rId19"/>
    <p:sldLayoutId id="2147483779" r:id="rId20"/>
    <p:sldLayoutId id="2147483780" r:id="rId21"/>
    <p:sldLayoutId id="2147483781" r:id="rId22"/>
    <p:sldLayoutId id="2147483782" r:id="rId23"/>
    <p:sldLayoutId id="2147483783" r:id="rId24"/>
    <p:sldLayoutId id="2147483784" r:id="rId25"/>
    <p:sldLayoutId id="2147483785" r:id="rId26"/>
    <p:sldLayoutId id="2147483786" r:id="rId27"/>
    <p:sldLayoutId id="2147483787" r:id="rId28"/>
    <p:sldLayoutId id="2147483788" r:id="rId2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de-DE" sz="2400" kern="1200" baseline="0" dirty="0">
          <a:solidFill>
            <a:schemeClr val="tx1"/>
          </a:solidFill>
          <a:latin typeface="Officina Sans ITC Pro Medium" panose="020C0606030503020204" pitchFamily="34" charset="0"/>
          <a:ea typeface="Inter Medium" panose="020B0502030000000004" pitchFamily="34" charset="0"/>
          <a:cs typeface="+mn-cs"/>
        </a:defRPr>
      </a:lvl1pPr>
      <a:lvl2pPr algn="l" eaLnBrk="1" hangingPunct="1">
        <a:defRPr sz="2400" kern="1200" baseline="0">
          <a:solidFill>
            <a:schemeClr val="tx1"/>
          </a:solidFill>
          <a:latin typeface="+mj-lt"/>
        </a:defRPr>
      </a:lvl2pPr>
      <a:lvl3pPr algn="l" eaLnBrk="1" hangingPunct="1">
        <a:defRPr sz="2400" kern="1200" baseline="0">
          <a:solidFill>
            <a:schemeClr val="tx1"/>
          </a:solidFill>
          <a:latin typeface="+mj-lt"/>
        </a:defRPr>
      </a:lvl3pPr>
      <a:lvl4pPr algn="l" eaLnBrk="1" hangingPunct="1">
        <a:defRPr sz="2400" b="0" kern="1200" baseline="0">
          <a:solidFill>
            <a:schemeClr val="tx1"/>
          </a:solidFill>
          <a:latin typeface="+mj-lt"/>
        </a:defRPr>
      </a:lvl4pPr>
      <a:lvl5pPr algn="l" eaLnBrk="1" hangingPunct="1">
        <a:defRPr sz="2400" kern="1200" baseline="0">
          <a:solidFill>
            <a:schemeClr val="tx1"/>
          </a:solidFill>
          <a:latin typeface="+mj-lt"/>
        </a:defRPr>
      </a:lvl5pPr>
      <a:lvl6pPr algn="l" eaLnBrk="1" hangingPunct="1">
        <a:defRPr sz="2400" kern="1200" baseline="0">
          <a:solidFill>
            <a:schemeClr val="tx1"/>
          </a:solidFill>
          <a:latin typeface="+mj-lt"/>
        </a:defRPr>
      </a:lvl6pPr>
      <a:lvl7pPr algn="l" eaLnBrk="1" hangingPunct="1">
        <a:defRPr sz="2400" kern="1200" baseline="0">
          <a:solidFill>
            <a:schemeClr val="tx1"/>
          </a:solidFill>
          <a:latin typeface="+mj-lt"/>
        </a:defRPr>
      </a:lvl7pPr>
      <a:lvl8pPr algn="l" eaLnBrk="1" hangingPunct="1">
        <a:defRPr sz="2400" kern="1200" baseline="0">
          <a:solidFill>
            <a:schemeClr val="tx1"/>
          </a:solidFill>
          <a:latin typeface="+mj-lt"/>
        </a:defRPr>
      </a:lvl8pPr>
      <a:lvl9pPr algn="l" eaLnBrk="1" hangingPunct="1">
        <a:defRPr sz="2400" kern="1200" baseline="0">
          <a:solidFill>
            <a:schemeClr val="tx1"/>
          </a:solidFill>
          <a:latin typeface="+mj-lt"/>
        </a:defRPr>
      </a:lvl9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32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SzPct val="90000"/>
        <a:buFont typeface="Inter Semi Bold" panose="020B0702030000000004" pitchFamily="34" charset="0"/>
        <a:buChar char="○"/>
        <a:defRPr lang="de-DE" sz="1200" b="0" kern="1200" dirty="0">
          <a:solidFill>
            <a:schemeClr val="tx1"/>
          </a:solidFill>
          <a:latin typeface="Inter Semi Bold" panose="020B0702030000000004" pitchFamily="34" charset="0"/>
          <a:ea typeface="Inter Semi Bold" panose="020B0702030000000004" pitchFamily="34" charset="0"/>
          <a:cs typeface="+mn-cs"/>
        </a:defRPr>
      </a:lvl2pPr>
      <a:lvl3pPr marL="720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-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+mj-lt"/>
        <a:buAutoNum type="arabicPeriod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+mj-lt"/>
        <a:buAutoNum type="alphaLcPeriod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600" b="0" kern="1200">
          <a:solidFill>
            <a:schemeClr val="tx1"/>
          </a:solidFill>
          <a:latin typeface="Inter Semi Bold" panose="020B0702030000000004" pitchFamily="34" charset="0"/>
          <a:ea typeface="Inter Semi Bold" panose="020B0702030000000004" pitchFamily="34" charset="0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600" b="0" kern="1200">
          <a:solidFill>
            <a:schemeClr val="accent1"/>
          </a:solidFill>
          <a:latin typeface="Inter Semi Bold" panose="020B0702030000000004" pitchFamily="34" charset="0"/>
          <a:ea typeface="Inter Semi Bold" panose="020B0702030000000004" pitchFamily="34" charset="0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F26B43"/>
          </p15:clr>
        </p15:guide>
        <p15:guide id="10" orient="horz" pos="2546">
          <p15:clr>
            <a:srgbClr val="A4A3A4"/>
          </p15:clr>
        </p15:guide>
        <p15:guide id="11" orient="horz" pos="1774">
          <p15:clr>
            <a:srgbClr val="A4A3A4"/>
          </p15:clr>
        </p15:guide>
        <p15:guide id="12" orient="horz" pos="1003">
          <p15:clr>
            <a:srgbClr val="F26B43"/>
          </p15:clr>
        </p15:guide>
        <p15:guide id="13" orient="horz" pos="3317">
          <p15:clr>
            <a:srgbClr val="A4A3A4"/>
          </p15:clr>
        </p15:guide>
        <p15:guide id="14" orient="horz" pos="4088">
          <p15:clr>
            <a:srgbClr val="A4A3A4"/>
          </p15:clr>
        </p15:guide>
        <p15:guide id="15" orient="horz" pos="232">
          <p15:clr>
            <a:srgbClr val="F26B43"/>
          </p15:clr>
        </p15:guide>
        <p15:guide id="17" pos="211">
          <p15:clr>
            <a:srgbClr val="F26B43"/>
          </p15:clr>
        </p15:guide>
        <p15:guide id="18" pos="7469">
          <p15:clr>
            <a:srgbClr val="F26B43"/>
          </p15:clr>
        </p15:guide>
        <p15:guide id="19" pos="6743">
          <p15:clr>
            <a:srgbClr val="A4A3A4"/>
          </p15:clr>
        </p15:guide>
        <p15:guide id="20" pos="937">
          <p15:clr>
            <a:srgbClr val="A4A3A4"/>
          </p15:clr>
        </p15:guide>
        <p15:guide id="21" pos="1663">
          <p15:clr>
            <a:srgbClr val="A4A3A4"/>
          </p15:clr>
        </p15:guide>
        <p15:guide id="22" pos="2389">
          <p15:clr>
            <a:srgbClr val="A4A3A4"/>
          </p15:clr>
        </p15:guide>
        <p15:guide id="23" pos="5292">
          <p15:clr>
            <a:srgbClr val="A4A3A4"/>
          </p15:clr>
        </p15:guide>
        <p15:guide id="24" pos="6017">
          <p15:clr>
            <a:srgbClr val="A4A3A4"/>
          </p15:clr>
        </p15:guide>
        <p15:guide id="25" pos="3114">
          <p15:clr>
            <a:srgbClr val="A4A3A4"/>
          </p15:clr>
        </p15:guide>
        <p15:guide id="26" pos="4566">
          <p15:clr>
            <a:srgbClr val="A4A3A4"/>
          </p15:clr>
        </p15:guide>
        <p15:guide id="27" pos="4793">
          <p15:clr>
            <a:srgbClr val="A4A3A4"/>
          </p15:clr>
        </p15:guide>
        <p15:guide id="28" pos="2887">
          <p15:clr>
            <a:srgbClr val="A4A3A4"/>
          </p15:clr>
        </p15:guide>
        <p15:guide id="29" orient="horz" pos="595">
          <p15:clr>
            <a:srgbClr val="A4A3A4"/>
          </p15:clr>
        </p15:guide>
        <p15:guide id="30" pos="574">
          <p15:clr>
            <a:srgbClr val="A4A3A4"/>
          </p15:clr>
        </p15:guide>
        <p15:guide id="31" orient="horz" pos="3952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5CC22B28-D1A3-4258-BEBE-87C642AD2342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38138" y="368300"/>
            <a:ext cx="9213850" cy="25380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lvl="0"/>
            <a:r>
              <a:rPr lang="de-DE"/>
              <a:t>Headlin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7A7899-1176-4714-BFC5-99E4DB99A754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38138" y="1592263"/>
            <a:ext cx="6910386" cy="46815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Erste Ebene für Fließtext (</a:t>
            </a:r>
            <a:r>
              <a:rPr lang="de-DE" err="1"/>
              <a:t>Inter</a:t>
            </a:r>
            <a:r>
              <a:rPr lang="de-DE"/>
              <a:t>, 12 </a:t>
            </a:r>
            <a:r>
              <a:rPr lang="de-DE" err="1"/>
              <a:t>pt</a:t>
            </a:r>
            <a:r>
              <a:rPr lang="de-DE"/>
              <a:t>, schwarz)</a:t>
            </a:r>
          </a:p>
          <a:p>
            <a:pPr lvl="1"/>
            <a:r>
              <a:rPr lang="de-DE"/>
              <a:t>Zweite Ebene für Fettungen/Hervorhebungen (</a:t>
            </a:r>
            <a:r>
              <a:rPr lang="de-DE" err="1"/>
              <a:t>Inter</a:t>
            </a:r>
            <a:r>
              <a:rPr lang="de-DE"/>
              <a:t> </a:t>
            </a:r>
            <a:r>
              <a:rPr lang="de-DE" err="1"/>
              <a:t>Semi</a:t>
            </a:r>
            <a:r>
              <a:rPr lang="de-DE"/>
              <a:t> </a:t>
            </a:r>
            <a:r>
              <a:rPr lang="de-DE" err="1"/>
              <a:t>Bold</a:t>
            </a:r>
            <a:r>
              <a:rPr lang="de-DE"/>
              <a:t>, 12pt, schwarz)</a:t>
            </a:r>
          </a:p>
          <a:p>
            <a:pPr lvl="2"/>
            <a:r>
              <a:rPr lang="de-DE"/>
              <a:t>Dritte Ebene für Bullet Points</a:t>
            </a:r>
          </a:p>
          <a:p>
            <a:pPr lvl="3"/>
            <a:r>
              <a:rPr lang="de-DE"/>
              <a:t>Vierte Ebene für Aufzählungen</a:t>
            </a:r>
          </a:p>
          <a:p>
            <a:pPr lvl="4"/>
            <a:r>
              <a:rPr lang="de-DE"/>
              <a:t>Fünfte Ebene für Aufzählungen</a:t>
            </a:r>
          </a:p>
          <a:p>
            <a:pPr lvl="5"/>
            <a:r>
              <a:rPr lang="de-DE"/>
              <a:t>Sechste Ebene für Highlights (</a:t>
            </a:r>
            <a:r>
              <a:rPr lang="de-DE" err="1"/>
              <a:t>Inter</a:t>
            </a:r>
            <a:r>
              <a:rPr lang="de-DE"/>
              <a:t> </a:t>
            </a:r>
            <a:r>
              <a:rPr lang="de-DE" err="1"/>
              <a:t>Semi</a:t>
            </a:r>
            <a:r>
              <a:rPr lang="de-DE"/>
              <a:t> </a:t>
            </a:r>
            <a:r>
              <a:rPr lang="de-DE" err="1"/>
              <a:t>Bold</a:t>
            </a:r>
            <a:r>
              <a:rPr lang="de-DE"/>
              <a:t>, 16pt, schwarz)</a:t>
            </a:r>
          </a:p>
          <a:p>
            <a:pPr lvl="6"/>
            <a:r>
              <a:rPr lang="de-DE"/>
              <a:t>Siebte Ebene für Highlights (</a:t>
            </a:r>
            <a:r>
              <a:rPr lang="de-DE" err="1"/>
              <a:t>Inter</a:t>
            </a:r>
            <a:r>
              <a:rPr lang="de-DE"/>
              <a:t> </a:t>
            </a:r>
            <a:r>
              <a:rPr lang="de-DE" err="1"/>
              <a:t>Semi</a:t>
            </a:r>
            <a:r>
              <a:rPr lang="de-DE"/>
              <a:t> </a:t>
            </a:r>
            <a:r>
              <a:rPr lang="de-DE" err="1"/>
              <a:t>Bold</a:t>
            </a:r>
            <a:r>
              <a:rPr lang="de-DE"/>
              <a:t>, 16pt, </a:t>
            </a:r>
            <a:r>
              <a:rPr lang="de-DE" err="1"/>
              <a:t>Highlightfarbe</a:t>
            </a:r>
            <a:r>
              <a:rPr lang="de-DE"/>
              <a:t>)</a:t>
            </a:r>
          </a:p>
          <a:p>
            <a:pPr lvl="7"/>
            <a:r>
              <a:rPr lang="de-DE"/>
              <a:t>Achte Ebene für Diagramm und Bildlegenden (</a:t>
            </a:r>
            <a:r>
              <a:rPr lang="de-DE" err="1"/>
              <a:t>Inter</a:t>
            </a:r>
            <a:r>
              <a:rPr lang="de-DE"/>
              <a:t>, 10pt, schwarz)</a:t>
            </a:r>
          </a:p>
          <a:p>
            <a:pPr lvl="8"/>
            <a:r>
              <a:rPr lang="de-DE"/>
              <a:t>Neunte Ebene (</a:t>
            </a:r>
            <a:r>
              <a:rPr lang="de-DE" err="1"/>
              <a:t>Inter</a:t>
            </a:r>
            <a:r>
              <a:rPr lang="de-DE"/>
              <a:t>, 10pt, schwarz)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9E6ADEB-3EA6-4FEA-9F5A-2E6A8A33C6A6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1160919" y="6491733"/>
            <a:ext cx="457993" cy="101671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fld id="{B218C7C1-5714-4140-8899-D73FCE55933B}" type="datetime1">
              <a:rPr lang="de-DE" smtClean="0"/>
              <a:t>2022-01-1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C251B0C-0232-4145-8300-5B5D4ADF23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8401051" y="6491733"/>
            <a:ext cx="2522534" cy="101671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6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isk Report 2021 M03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44938F2-A076-4BF9-B690-BCB3E75B62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725538" y="6491733"/>
            <a:ext cx="191824" cy="101671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</a:lstStyle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4017B64D-C976-4728-A95B-0361BA6A9F0D}"/>
              </a:ext>
            </a:extLst>
          </p:cNvPr>
          <p:cNvCxnSpPr/>
          <p:nvPr/>
        </p:nvCxnSpPr>
        <p:spPr>
          <a:xfrm>
            <a:off x="334963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D9A3A56F-06AD-4760-9043-8DB8B80BE502}"/>
              </a:ext>
            </a:extLst>
          </p:cNvPr>
          <p:cNvCxnSpPr/>
          <p:nvPr/>
        </p:nvCxnSpPr>
        <p:spPr>
          <a:xfrm>
            <a:off x="148748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F8F10931-18F0-433A-AC5E-65EE1DB4129A}"/>
              </a:ext>
            </a:extLst>
          </p:cNvPr>
          <p:cNvCxnSpPr/>
          <p:nvPr/>
        </p:nvCxnSpPr>
        <p:spPr>
          <a:xfrm>
            <a:off x="2638426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EC514A1D-F749-449A-A2E6-22DCD7BF17C4}"/>
              </a:ext>
            </a:extLst>
          </p:cNvPr>
          <p:cNvCxnSpPr/>
          <p:nvPr/>
        </p:nvCxnSpPr>
        <p:spPr>
          <a:xfrm>
            <a:off x="379253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1E5009D7-6B73-43BE-99D0-59635A89BC75}"/>
              </a:ext>
            </a:extLst>
          </p:cNvPr>
          <p:cNvCxnSpPr/>
          <p:nvPr/>
        </p:nvCxnSpPr>
        <p:spPr>
          <a:xfrm>
            <a:off x="4583113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47D8A626-A7C6-4148-AA2E-CE5DD1A85F2B}"/>
              </a:ext>
            </a:extLst>
          </p:cNvPr>
          <p:cNvCxnSpPr/>
          <p:nvPr/>
        </p:nvCxnSpPr>
        <p:spPr>
          <a:xfrm>
            <a:off x="4943475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700E5437-43C6-4C8E-A7C8-B440ED623067}"/>
              </a:ext>
            </a:extLst>
          </p:cNvPr>
          <p:cNvCxnSpPr/>
          <p:nvPr/>
        </p:nvCxnSpPr>
        <p:spPr>
          <a:xfrm>
            <a:off x="6096000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4B502A48-F5B6-433B-9D20-478BFF854AB9}"/>
              </a:ext>
            </a:extLst>
          </p:cNvPr>
          <p:cNvCxnSpPr/>
          <p:nvPr/>
        </p:nvCxnSpPr>
        <p:spPr>
          <a:xfrm>
            <a:off x="7248525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7C098924-8A9C-4D31-86C0-B4768D507032}"/>
              </a:ext>
            </a:extLst>
          </p:cNvPr>
          <p:cNvCxnSpPr/>
          <p:nvPr/>
        </p:nvCxnSpPr>
        <p:spPr>
          <a:xfrm>
            <a:off x="760888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BB82E598-70AE-4F7F-814E-06127B5A3D6E}"/>
              </a:ext>
            </a:extLst>
          </p:cNvPr>
          <p:cNvCxnSpPr/>
          <p:nvPr/>
        </p:nvCxnSpPr>
        <p:spPr>
          <a:xfrm>
            <a:off x="1489076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904AB93B-662F-41BF-836C-D2D64FCC0FDA}"/>
              </a:ext>
            </a:extLst>
          </p:cNvPr>
          <p:cNvCxnSpPr/>
          <p:nvPr/>
        </p:nvCxnSpPr>
        <p:spPr>
          <a:xfrm>
            <a:off x="840263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7545D25C-D5C2-4FDF-A623-E9EDF6886996}"/>
              </a:ext>
            </a:extLst>
          </p:cNvPr>
          <p:cNvCxnSpPr/>
          <p:nvPr/>
        </p:nvCxnSpPr>
        <p:spPr>
          <a:xfrm>
            <a:off x="955198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E61AAA06-59B2-402E-90E3-0C2B22F1700C}"/>
              </a:ext>
            </a:extLst>
          </p:cNvPr>
          <p:cNvCxnSpPr/>
          <p:nvPr/>
        </p:nvCxnSpPr>
        <p:spPr>
          <a:xfrm>
            <a:off x="10704513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924D3566-C2E5-4256-B222-9F948B0D6F15}"/>
              </a:ext>
            </a:extLst>
          </p:cNvPr>
          <p:cNvCxnSpPr/>
          <p:nvPr/>
        </p:nvCxnSpPr>
        <p:spPr>
          <a:xfrm>
            <a:off x="1185703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CCC1A2F1-C1D4-4509-9549-141C62748335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3345892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F6EF8D5B-0767-456B-A9DA-545E5C27D79A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273470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DD892EA7-B98B-421F-B84B-657C787F0459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1511781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495E1BE4-7ABB-4D45-BC0E-60FB6EB13A8F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284153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r Verbinder 42">
            <a:extLst>
              <a:ext uri="{FF2B5EF4-FFF2-40B4-BE49-F238E27FC236}">
                <a16:creationId xmlns:a16="http://schemas.microsoft.com/office/drawing/2014/main" id="{C222D0B4-9309-49E0-94E2-FE83EFF03CB8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3958667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r Verbinder 44">
            <a:extLst>
              <a:ext uri="{FF2B5EF4-FFF2-40B4-BE49-F238E27FC236}">
                <a16:creationId xmlns:a16="http://schemas.microsoft.com/office/drawing/2014/main" id="{E903F861-086A-4C9C-88A0-544DD5D2EC87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5182629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r Verbinder 46">
            <a:extLst>
              <a:ext uri="{FF2B5EF4-FFF2-40B4-BE49-F238E27FC236}">
                <a16:creationId xmlns:a16="http://schemas.microsoft.com/office/drawing/2014/main" id="{9E85238A-46BC-4F2E-A0A0-F81B78C37DF4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6405553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8" name="Gruppieren 67">
            <a:extLst>
              <a:ext uri="{FF2B5EF4-FFF2-40B4-BE49-F238E27FC236}">
                <a16:creationId xmlns:a16="http://schemas.microsoft.com/office/drawing/2014/main" id="{2667818E-6A1E-4A4C-AFD4-C135288874B4}"/>
              </a:ext>
            </a:extLst>
          </p:cNvPr>
          <p:cNvGrpSpPr/>
          <p:nvPr/>
        </p:nvGrpSpPr>
        <p:grpSpPr>
          <a:xfrm>
            <a:off x="10990764" y="364362"/>
            <a:ext cx="867864" cy="231551"/>
            <a:chOff x="464743" y="1368699"/>
            <a:chExt cx="2380059" cy="635012"/>
          </a:xfrm>
        </p:grpSpPr>
        <p:sp>
          <p:nvSpPr>
            <p:cNvPr id="55" name="Oval 5">
              <a:extLst>
                <a:ext uri="{FF2B5EF4-FFF2-40B4-BE49-F238E27FC236}">
                  <a16:creationId xmlns:a16="http://schemas.microsoft.com/office/drawing/2014/main" id="{C189E95A-38EA-45B6-9D02-6E1D97071C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56" name="Freeform 6">
              <a:extLst>
                <a:ext uri="{FF2B5EF4-FFF2-40B4-BE49-F238E27FC236}">
                  <a16:creationId xmlns:a16="http://schemas.microsoft.com/office/drawing/2014/main" id="{D2EEF067-6E8B-4787-9FDF-44E23FF2BA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57" name="Gruppieren 56">
              <a:extLst>
                <a:ext uri="{FF2B5EF4-FFF2-40B4-BE49-F238E27FC236}">
                  <a16:creationId xmlns:a16="http://schemas.microsoft.com/office/drawing/2014/main" id="{B766481E-25DF-4E9E-8BB7-4E620E81A44B}"/>
                </a:ext>
              </a:extLst>
            </p:cNvPr>
            <p:cNvGrpSpPr/>
            <p:nvPr/>
          </p:nvGrpSpPr>
          <p:grpSpPr>
            <a:xfrm>
              <a:off x="1311220" y="1530566"/>
              <a:ext cx="1533582" cy="307587"/>
              <a:chOff x="3987943" y="2307132"/>
              <a:chExt cx="2607166" cy="522910"/>
            </a:xfrm>
          </p:grpSpPr>
          <p:sp>
            <p:nvSpPr>
              <p:cNvPr id="58" name="Freeform 7">
                <a:extLst>
                  <a:ext uri="{FF2B5EF4-FFF2-40B4-BE49-F238E27FC236}">
                    <a16:creationId xmlns:a16="http://schemas.microsoft.com/office/drawing/2014/main" id="{4D630AF5-8630-4F31-9C90-CB14509D63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59" name="Freeform 8">
                <a:extLst>
                  <a:ext uri="{FF2B5EF4-FFF2-40B4-BE49-F238E27FC236}">
                    <a16:creationId xmlns:a16="http://schemas.microsoft.com/office/drawing/2014/main" id="{D7054DC7-CBA2-4C25-9F87-1FD140BC82D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0" name="Freeform 9">
                <a:extLst>
                  <a:ext uri="{FF2B5EF4-FFF2-40B4-BE49-F238E27FC236}">
                    <a16:creationId xmlns:a16="http://schemas.microsoft.com/office/drawing/2014/main" id="{4A833CE3-BEE9-415B-AC22-C39DBFA7A1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1" name="Freeform 10">
                <a:extLst>
                  <a:ext uri="{FF2B5EF4-FFF2-40B4-BE49-F238E27FC236}">
                    <a16:creationId xmlns:a16="http://schemas.microsoft.com/office/drawing/2014/main" id="{EE226485-6678-4B19-8051-5EC8249F4E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2" name="Freeform 11">
                <a:extLst>
                  <a:ext uri="{FF2B5EF4-FFF2-40B4-BE49-F238E27FC236}">
                    <a16:creationId xmlns:a16="http://schemas.microsoft.com/office/drawing/2014/main" id="{3BD573E8-29EC-4613-8FCC-EA264FFB7C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3" name="Freeform 12">
                <a:extLst>
                  <a:ext uri="{FF2B5EF4-FFF2-40B4-BE49-F238E27FC236}">
                    <a16:creationId xmlns:a16="http://schemas.microsoft.com/office/drawing/2014/main" id="{1045D026-AE12-444C-A892-8710BC1CC65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4" name="Freeform 13">
                <a:extLst>
                  <a:ext uri="{FF2B5EF4-FFF2-40B4-BE49-F238E27FC236}">
                    <a16:creationId xmlns:a16="http://schemas.microsoft.com/office/drawing/2014/main" id="{969A310D-4C62-4F20-8DB3-23D3EB19BD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5" name="Freeform 14">
                <a:extLst>
                  <a:ext uri="{FF2B5EF4-FFF2-40B4-BE49-F238E27FC236}">
                    <a16:creationId xmlns:a16="http://schemas.microsoft.com/office/drawing/2014/main" id="{82405CCE-A18D-49D5-AEEB-9BB84F66B20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6" name="Freeform 15">
                <a:extLst>
                  <a:ext uri="{FF2B5EF4-FFF2-40B4-BE49-F238E27FC236}">
                    <a16:creationId xmlns:a16="http://schemas.microsoft.com/office/drawing/2014/main" id="{76EB0AFD-7208-4A2E-8C9C-242989F4AD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7" name="Freeform 16">
                <a:extLst>
                  <a:ext uri="{FF2B5EF4-FFF2-40B4-BE49-F238E27FC236}">
                    <a16:creationId xmlns:a16="http://schemas.microsoft.com/office/drawing/2014/main" id="{BEDD3FC9-69F4-4907-86DD-5EA7BF30CC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cxnSp>
        <p:nvCxnSpPr>
          <p:cNvPr id="44" name="Gerader Verbinder 43">
            <a:extLst>
              <a:ext uri="{FF2B5EF4-FFF2-40B4-BE49-F238E27FC236}">
                <a16:creationId xmlns:a16="http://schemas.microsoft.com/office/drawing/2014/main" id="{5CC5A9D1-9CF7-4E59-BAA9-6A78649E671E}"/>
              </a:ext>
            </a:extLst>
          </p:cNvPr>
          <p:cNvCxnSpPr/>
          <p:nvPr/>
        </p:nvCxnSpPr>
        <p:spPr>
          <a:xfrm>
            <a:off x="915988" y="-214869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r Verbinder 45">
            <a:extLst>
              <a:ext uri="{FF2B5EF4-FFF2-40B4-BE49-F238E27FC236}">
                <a16:creationId xmlns:a16="http://schemas.microsoft.com/office/drawing/2014/main" id="{9A2DAB50-6978-47DE-B277-993975606C66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860416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r Verbinder 46">
            <a:extLst>
              <a:ext uri="{FF2B5EF4-FFF2-40B4-BE49-F238E27FC236}">
                <a16:creationId xmlns:a16="http://schemas.microsoft.com/office/drawing/2014/main" id="{2D8F8298-7DD4-4879-BDAE-6A6F5AF1AFAB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6189653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932394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0" r:id="rId1"/>
    <p:sldLayoutId id="2147483791" r:id="rId2"/>
    <p:sldLayoutId id="2147483792" r:id="rId3"/>
    <p:sldLayoutId id="2147483793" r:id="rId4"/>
    <p:sldLayoutId id="2147483794" r:id="rId5"/>
    <p:sldLayoutId id="2147483795" r:id="rId6"/>
    <p:sldLayoutId id="2147483796" r:id="rId7"/>
    <p:sldLayoutId id="2147483797" r:id="rId8"/>
    <p:sldLayoutId id="2147483798" r:id="rId9"/>
    <p:sldLayoutId id="2147483799" r:id="rId10"/>
    <p:sldLayoutId id="2147483800" r:id="rId11"/>
    <p:sldLayoutId id="2147483801" r:id="rId12"/>
    <p:sldLayoutId id="2147483802" r:id="rId13"/>
    <p:sldLayoutId id="2147483803" r:id="rId14"/>
    <p:sldLayoutId id="2147483804" r:id="rId15"/>
    <p:sldLayoutId id="2147483805" r:id="rId16"/>
    <p:sldLayoutId id="2147483806" r:id="rId17"/>
    <p:sldLayoutId id="2147483807" r:id="rId18"/>
    <p:sldLayoutId id="2147483808" r:id="rId19"/>
    <p:sldLayoutId id="2147483809" r:id="rId20"/>
    <p:sldLayoutId id="2147483810" r:id="rId21"/>
    <p:sldLayoutId id="2147483811" r:id="rId22"/>
    <p:sldLayoutId id="2147483812" r:id="rId23"/>
    <p:sldLayoutId id="2147483813" r:id="rId24"/>
    <p:sldLayoutId id="2147483814" r:id="rId25"/>
    <p:sldLayoutId id="2147483815" r:id="rId26"/>
    <p:sldLayoutId id="2147483816" r:id="rId27"/>
    <p:sldLayoutId id="2147483817" r:id="rId28"/>
    <p:sldLayoutId id="2147483818" r:id="rId2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de-DE" sz="2400" kern="1200" baseline="0" dirty="0">
          <a:solidFill>
            <a:schemeClr val="tx1"/>
          </a:solidFill>
          <a:latin typeface="Officina Sans ITC Pro Medium" panose="020C0606030503020204" pitchFamily="34" charset="0"/>
          <a:ea typeface="Inter Medium" panose="020B0502030000000004" pitchFamily="34" charset="0"/>
          <a:cs typeface="+mn-cs"/>
        </a:defRPr>
      </a:lvl1pPr>
      <a:lvl2pPr algn="l" eaLnBrk="1" hangingPunct="1">
        <a:defRPr sz="2400" kern="1200" baseline="0">
          <a:solidFill>
            <a:schemeClr val="tx1"/>
          </a:solidFill>
          <a:latin typeface="+mj-lt"/>
        </a:defRPr>
      </a:lvl2pPr>
      <a:lvl3pPr algn="l" eaLnBrk="1" hangingPunct="1">
        <a:defRPr sz="2400" kern="1200" baseline="0">
          <a:solidFill>
            <a:schemeClr val="tx1"/>
          </a:solidFill>
          <a:latin typeface="+mj-lt"/>
        </a:defRPr>
      </a:lvl3pPr>
      <a:lvl4pPr algn="l" eaLnBrk="1" hangingPunct="1">
        <a:defRPr sz="2400" b="0" kern="1200" baseline="0">
          <a:solidFill>
            <a:schemeClr val="tx1"/>
          </a:solidFill>
          <a:latin typeface="+mj-lt"/>
        </a:defRPr>
      </a:lvl4pPr>
      <a:lvl5pPr algn="l" eaLnBrk="1" hangingPunct="1">
        <a:defRPr sz="2400" kern="1200" baseline="0">
          <a:solidFill>
            <a:schemeClr val="tx1"/>
          </a:solidFill>
          <a:latin typeface="+mj-lt"/>
        </a:defRPr>
      </a:lvl5pPr>
      <a:lvl6pPr algn="l" eaLnBrk="1" hangingPunct="1">
        <a:defRPr sz="2400" kern="1200" baseline="0">
          <a:solidFill>
            <a:schemeClr val="tx1"/>
          </a:solidFill>
          <a:latin typeface="+mj-lt"/>
        </a:defRPr>
      </a:lvl6pPr>
      <a:lvl7pPr algn="l" eaLnBrk="1" hangingPunct="1">
        <a:defRPr sz="2400" kern="1200" baseline="0">
          <a:solidFill>
            <a:schemeClr val="tx1"/>
          </a:solidFill>
          <a:latin typeface="+mj-lt"/>
        </a:defRPr>
      </a:lvl7pPr>
      <a:lvl8pPr algn="l" eaLnBrk="1" hangingPunct="1">
        <a:defRPr sz="2400" kern="1200" baseline="0">
          <a:solidFill>
            <a:schemeClr val="tx1"/>
          </a:solidFill>
          <a:latin typeface="+mj-lt"/>
        </a:defRPr>
      </a:lvl8pPr>
      <a:lvl9pPr algn="l" eaLnBrk="1" hangingPunct="1">
        <a:defRPr sz="2400" kern="1200" baseline="0">
          <a:solidFill>
            <a:schemeClr val="tx1"/>
          </a:solidFill>
          <a:latin typeface="+mj-lt"/>
        </a:defRPr>
      </a:lvl9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32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SzPct val="90000"/>
        <a:buFont typeface="Inter Semi Bold" panose="020B0702030000000004" pitchFamily="34" charset="0"/>
        <a:buChar char="○"/>
        <a:defRPr lang="de-DE" sz="1200" b="0" kern="1200" dirty="0">
          <a:solidFill>
            <a:schemeClr val="tx1"/>
          </a:solidFill>
          <a:latin typeface="Inter Semi Bold" panose="020B0702030000000004" pitchFamily="34" charset="0"/>
          <a:ea typeface="Inter Semi Bold" panose="020B0702030000000004" pitchFamily="34" charset="0"/>
          <a:cs typeface="+mn-cs"/>
        </a:defRPr>
      </a:lvl2pPr>
      <a:lvl3pPr marL="720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-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+mj-lt"/>
        <a:buAutoNum type="arabicPeriod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+mj-lt"/>
        <a:buAutoNum type="alphaLcPeriod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600" b="0" kern="1200">
          <a:solidFill>
            <a:schemeClr val="tx1"/>
          </a:solidFill>
          <a:latin typeface="Inter Semi Bold" panose="020B0702030000000004" pitchFamily="34" charset="0"/>
          <a:ea typeface="Inter Semi Bold" panose="020B0702030000000004" pitchFamily="34" charset="0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600" b="0" kern="1200">
          <a:solidFill>
            <a:schemeClr val="accent1"/>
          </a:solidFill>
          <a:latin typeface="Inter Semi Bold" panose="020B0702030000000004" pitchFamily="34" charset="0"/>
          <a:ea typeface="Inter Semi Bold" panose="020B0702030000000004" pitchFamily="34" charset="0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F26B43"/>
          </p15:clr>
        </p15:guide>
        <p15:guide id="10" orient="horz" pos="2546">
          <p15:clr>
            <a:srgbClr val="A4A3A4"/>
          </p15:clr>
        </p15:guide>
        <p15:guide id="11" orient="horz" pos="1774">
          <p15:clr>
            <a:srgbClr val="A4A3A4"/>
          </p15:clr>
        </p15:guide>
        <p15:guide id="12" orient="horz" pos="1003">
          <p15:clr>
            <a:srgbClr val="F26B43"/>
          </p15:clr>
        </p15:guide>
        <p15:guide id="13" orient="horz" pos="3317">
          <p15:clr>
            <a:srgbClr val="A4A3A4"/>
          </p15:clr>
        </p15:guide>
        <p15:guide id="14" orient="horz" pos="4088">
          <p15:clr>
            <a:srgbClr val="A4A3A4"/>
          </p15:clr>
        </p15:guide>
        <p15:guide id="15" orient="horz" pos="232">
          <p15:clr>
            <a:srgbClr val="F26B43"/>
          </p15:clr>
        </p15:guide>
        <p15:guide id="17" pos="211">
          <p15:clr>
            <a:srgbClr val="F26B43"/>
          </p15:clr>
        </p15:guide>
        <p15:guide id="18" pos="7469">
          <p15:clr>
            <a:srgbClr val="F26B43"/>
          </p15:clr>
        </p15:guide>
        <p15:guide id="19" pos="6743">
          <p15:clr>
            <a:srgbClr val="A4A3A4"/>
          </p15:clr>
        </p15:guide>
        <p15:guide id="20" pos="937">
          <p15:clr>
            <a:srgbClr val="A4A3A4"/>
          </p15:clr>
        </p15:guide>
        <p15:guide id="21" pos="1663">
          <p15:clr>
            <a:srgbClr val="A4A3A4"/>
          </p15:clr>
        </p15:guide>
        <p15:guide id="22" pos="2389">
          <p15:clr>
            <a:srgbClr val="A4A3A4"/>
          </p15:clr>
        </p15:guide>
        <p15:guide id="23" pos="5292">
          <p15:clr>
            <a:srgbClr val="A4A3A4"/>
          </p15:clr>
        </p15:guide>
        <p15:guide id="24" pos="6017">
          <p15:clr>
            <a:srgbClr val="A4A3A4"/>
          </p15:clr>
        </p15:guide>
        <p15:guide id="25" pos="3114">
          <p15:clr>
            <a:srgbClr val="A4A3A4"/>
          </p15:clr>
        </p15:guide>
        <p15:guide id="26" pos="4566">
          <p15:clr>
            <a:srgbClr val="A4A3A4"/>
          </p15:clr>
        </p15:guide>
        <p15:guide id="27" pos="4793">
          <p15:clr>
            <a:srgbClr val="A4A3A4"/>
          </p15:clr>
        </p15:guide>
        <p15:guide id="28" pos="2887">
          <p15:clr>
            <a:srgbClr val="A4A3A4"/>
          </p15:clr>
        </p15:guide>
        <p15:guide id="29" orient="horz" pos="595">
          <p15:clr>
            <a:srgbClr val="A4A3A4"/>
          </p15:clr>
        </p15:guide>
        <p15:guide id="30" pos="574">
          <p15:clr>
            <a:srgbClr val="A4A3A4"/>
          </p15:clr>
        </p15:guide>
        <p15:guide id="31" orient="horz" pos="3952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5CC22B28-D1A3-4258-BEBE-87C642AD2342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38138" y="368300"/>
            <a:ext cx="9213850" cy="25380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lvl="0"/>
            <a:r>
              <a:rPr lang="de-DE"/>
              <a:t>Headlin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7A7899-1176-4714-BFC5-99E4DB99A754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38138" y="1592263"/>
            <a:ext cx="6910386" cy="46815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Erste Ebene für Fließtext (</a:t>
            </a:r>
            <a:r>
              <a:rPr lang="de-DE" err="1"/>
              <a:t>Inter</a:t>
            </a:r>
            <a:r>
              <a:rPr lang="de-DE"/>
              <a:t>, 12 </a:t>
            </a:r>
            <a:r>
              <a:rPr lang="de-DE" err="1"/>
              <a:t>pt</a:t>
            </a:r>
            <a:r>
              <a:rPr lang="de-DE"/>
              <a:t>, schwarz)</a:t>
            </a:r>
          </a:p>
          <a:p>
            <a:pPr lvl="1"/>
            <a:r>
              <a:rPr lang="de-DE"/>
              <a:t>Zweite Ebene für Fettungen/Hervorhebungen (</a:t>
            </a:r>
            <a:r>
              <a:rPr lang="de-DE" err="1"/>
              <a:t>Inter</a:t>
            </a:r>
            <a:r>
              <a:rPr lang="de-DE"/>
              <a:t> </a:t>
            </a:r>
            <a:r>
              <a:rPr lang="de-DE" err="1"/>
              <a:t>Semi</a:t>
            </a:r>
            <a:r>
              <a:rPr lang="de-DE"/>
              <a:t> </a:t>
            </a:r>
            <a:r>
              <a:rPr lang="de-DE" err="1"/>
              <a:t>Bold</a:t>
            </a:r>
            <a:r>
              <a:rPr lang="de-DE"/>
              <a:t>, 12pt, schwarz)</a:t>
            </a:r>
          </a:p>
          <a:p>
            <a:pPr lvl="2"/>
            <a:r>
              <a:rPr lang="de-DE"/>
              <a:t>Dritte Ebene für Bullet Points</a:t>
            </a:r>
          </a:p>
          <a:p>
            <a:pPr lvl="3"/>
            <a:r>
              <a:rPr lang="de-DE"/>
              <a:t>Vierte Ebene für Aufzählungen</a:t>
            </a:r>
          </a:p>
          <a:p>
            <a:pPr lvl="4"/>
            <a:r>
              <a:rPr lang="de-DE"/>
              <a:t>Fünfte Ebene für Aufzählungen</a:t>
            </a:r>
          </a:p>
          <a:p>
            <a:pPr lvl="5"/>
            <a:r>
              <a:rPr lang="de-DE"/>
              <a:t>Sechste Ebene für Highlights (</a:t>
            </a:r>
            <a:r>
              <a:rPr lang="de-DE" err="1"/>
              <a:t>Inter</a:t>
            </a:r>
            <a:r>
              <a:rPr lang="de-DE"/>
              <a:t> </a:t>
            </a:r>
            <a:r>
              <a:rPr lang="de-DE" err="1"/>
              <a:t>Semi</a:t>
            </a:r>
            <a:r>
              <a:rPr lang="de-DE"/>
              <a:t> </a:t>
            </a:r>
            <a:r>
              <a:rPr lang="de-DE" err="1"/>
              <a:t>Bold</a:t>
            </a:r>
            <a:r>
              <a:rPr lang="de-DE"/>
              <a:t>, 16pt, schwarz)</a:t>
            </a:r>
          </a:p>
          <a:p>
            <a:pPr lvl="6"/>
            <a:r>
              <a:rPr lang="de-DE"/>
              <a:t>Siebte Ebene für Highlights (</a:t>
            </a:r>
            <a:r>
              <a:rPr lang="de-DE" err="1"/>
              <a:t>Inter</a:t>
            </a:r>
            <a:r>
              <a:rPr lang="de-DE"/>
              <a:t> </a:t>
            </a:r>
            <a:r>
              <a:rPr lang="de-DE" err="1"/>
              <a:t>Semi</a:t>
            </a:r>
            <a:r>
              <a:rPr lang="de-DE"/>
              <a:t> </a:t>
            </a:r>
            <a:r>
              <a:rPr lang="de-DE" err="1"/>
              <a:t>Bold</a:t>
            </a:r>
            <a:r>
              <a:rPr lang="de-DE"/>
              <a:t>, 16pt, </a:t>
            </a:r>
            <a:r>
              <a:rPr lang="de-DE" err="1"/>
              <a:t>Highlightfarbe</a:t>
            </a:r>
            <a:r>
              <a:rPr lang="de-DE"/>
              <a:t>)</a:t>
            </a:r>
          </a:p>
          <a:p>
            <a:pPr lvl="7"/>
            <a:r>
              <a:rPr lang="de-DE"/>
              <a:t>Achte Ebene für Diagramm und Bildlegenden (</a:t>
            </a:r>
            <a:r>
              <a:rPr lang="de-DE" err="1"/>
              <a:t>Inter</a:t>
            </a:r>
            <a:r>
              <a:rPr lang="de-DE"/>
              <a:t>, 10pt, schwarz)</a:t>
            </a:r>
          </a:p>
          <a:p>
            <a:pPr lvl="8"/>
            <a:r>
              <a:rPr lang="de-DE"/>
              <a:t>Neunte Ebene (</a:t>
            </a:r>
            <a:r>
              <a:rPr lang="de-DE" err="1"/>
              <a:t>Inter</a:t>
            </a:r>
            <a:r>
              <a:rPr lang="de-DE"/>
              <a:t>, 10pt, schwarz)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9E6ADEB-3EA6-4FEA-9F5A-2E6A8A33C6A6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1160919" y="6491733"/>
            <a:ext cx="457993" cy="101671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fld id="{55AFFCC1-09CA-44FA-9A7F-0FD9CEF0EBA8}" type="datetime1">
              <a:rPr lang="de-DE" smtClean="0"/>
              <a:t>2022-01-1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C251B0C-0232-4145-8300-5B5D4ADF23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8401051" y="6491733"/>
            <a:ext cx="2522534" cy="101671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6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Risk Report 2021 M03</a:t>
            </a: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44938F2-A076-4BF9-B690-BCB3E75B62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725538" y="6491733"/>
            <a:ext cx="191824" cy="101671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</a:lstStyle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4017B64D-C976-4728-A95B-0361BA6A9F0D}"/>
              </a:ext>
            </a:extLst>
          </p:cNvPr>
          <p:cNvCxnSpPr/>
          <p:nvPr/>
        </p:nvCxnSpPr>
        <p:spPr>
          <a:xfrm>
            <a:off x="334963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D9A3A56F-06AD-4760-9043-8DB8B80BE502}"/>
              </a:ext>
            </a:extLst>
          </p:cNvPr>
          <p:cNvCxnSpPr/>
          <p:nvPr/>
        </p:nvCxnSpPr>
        <p:spPr>
          <a:xfrm>
            <a:off x="148748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F8F10931-18F0-433A-AC5E-65EE1DB4129A}"/>
              </a:ext>
            </a:extLst>
          </p:cNvPr>
          <p:cNvCxnSpPr/>
          <p:nvPr/>
        </p:nvCxnSpPr>
        <p:spPr>
          <a:xfrm>
            <a:off x="2638426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EC514A1D-F749-449A-A2E6-22DCD7BF17C4}"/>
              </a:ext>
            </a:extLst>
          </p:cNvPr>
          <p:cNvCxnSpPr/>
          <p:nvPr/>
        </p:nvCxnSpPr>
        <p:spPr>
          <a:xfrm>
            <a:off x="379253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1E5009D7-6B73-43BE-99D0-59635A89BC75}"/>
              </a:ext>
            </a:extLst>
          </p:cNvPr>
          <p:cNvCxnSpPr/>
          <p:nvPr/>
        </p:nvCxnSpPr>
        <p:spPr>
          <a:xfrm>
            <a:off x="4583113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47D8A626-A7C6-4148-AA2E-CE5DD1A85F2B}"/>
              </a:ext>
            </a:extLst>
          </p:cNvPr>
          <p:cNvCxnSpPr/>
          <p:nvPr/>
        </p:nvCxnSpPr>
        <p:spPr>
          <a:xfrm>
            <a:off x="4943475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700E5437-43C6-4C8E-A7C8-B440ED623067}"/>
              </a:ext>
            </a:extLst>
          </p:cNvPr>
          <p:cNvCxnSpPr/>
          <p:nvPr/>
        </p:nvCxnSpPr>
        <p:spPr>
          <a:xfrm>
            <a:off x="6096000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4B502A48-F5B6-433B-9D20-478BFF854AB9}"/>
              </a:ext>
            </a:extLst>
          </p:cNvPr>
          <p:cNvCxnSpPr/>
          <p:nvPr/>
        </p:nvCxnSpPr>
        <p:spPr>
          <a:xfrm>
            <a:off x="7248525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7C098924-8A9C-4D31-86C0-B4768D507032}"/>
              </a:ext>
            </a:extLst>
          </p:cNvPr>
          <p:cNvCxnSpPr/>
          <p:nvPr/>
        </p:nvCxnSpPr>
        <p:spPr>
          <a:xfrm>
            <a:off x="760888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BB82E598-70AE-4F7F-814E-06127B5A3D6E}"/>
              </a:ext>
            </a:extLst>
          </p:cNvPr>
          <p:cNvCxnSpPr/>
          <p:nvPr/>
        </p:nvCxnSpPr>
        <p:spPr>
          <a:xfrm>
            <a:off x="1489076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904AB93B-662F-41BF-836C-D2D64FCC0FDA}"/>
              </a:ext>
            </a:extLst>
          </p:cNvPr>
          <p:cNvCxnSpPr/>
          <p:nvPr/>
        </p:nvCxnSpPr>
        <p:spPr>
          <a:xfrm>
            <a:off x="840263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7545D25C-D5C2-4FDF-A623-E9EDF6886996}"/>
              </a:ext>
            </a:extLst>
          </p:cNvPr>
          <p:cNvCxnSpPr/>
          <p:nvPr/>
        </p:nvCxnSpPr>
        <p:spPr>
          <a:xfrm>
            <a:off x="955198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E61AAA06-59B2-402E-90E3-0C2B22F1700C}"/>
              </a:ext>
            </a:extLst>
          </p:cNvPr>
          <p:cNvCxnSpPr/>
          <p:nvPr/>
        </p:nvCxnSpPr>
        <p:spPr>
          <a:xfrm>
            <a:off x="10704513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924D3566-C2E5-4256-B222-9F948B0D6F15}"/>
              </a:ext>
            </a:extLst>
          </p:cNvPr>
          <p:cNvCxnSpPr/>
          <p:nvPr/>
        </p:nvCxnSpPr>
        <p:spPr>
          <a:xfrm>
            <a:off x="1185703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CCC1A2F1-C1D4-4509-9549-141C62748335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3345892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F6EF8D5B-0767-456B-A9DA-545E5C27D79A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273470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DD892EA7-B98B-421F-B84B-657C787F0459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1511781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r Verbinder 40">
            <a:extLst>
              <a:ext uri="{FF2B5EF4-FFF2-40B4-BE49-F238E27FC236}">
                <a16:creationId xmlns:a16="http://schemas.microsoft.com/office/drawing/2014/main" id="{4D88CDC6-5388-456A-9720-DC3DB88D03E9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860416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495E1BE4-7ABB-4D45-BC0E-60FB6EB13A8F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284153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r Verbinder 42">
            <a:extLst>
              <a:ext uri="{FF2B5EF4-FFF2-40B4-BE49-F238E27FC236}">
                <a16:creationId xmlns:a16="http://schemas.microsoft.com/office/drawing/2014/main" id="{C222D0B4-9309-49E0-94E2-FE83EFF03CB8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3958667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r Verbinder 44">
            <a:extLst>
              <a:ext uri="{FF2B5EF4-FFF2-40B4-BE49-F238E27FC236}">
                <a16:creationId xmlns:a16="http://schemas.microsoft.com/office/drawing/2014/main" id="{E903F861-086A-4C9C-88A0-544DD5D2EC87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5182629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r Verbinder 46">
            <a:extLst>
              <a:ext uri="{FF2B5EF4-FFF2-40B4-BE49-F238E27FC236}">
                <a16:creationId xmlns:a16="http://schemas.microsoft.com/office/drawing/2014/main" id="{9E85238A-46BC-4F2E-A0A0-F81B78C37DF4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6405553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8" name="Gruppieren 67">
            <a:extLst>
              <a:ext uri="{FF2B5EF4-FFF2-40B4-BE49-F238E27FC236}">
                <a16:creationId xmlns:a16="http://schemas.microsoft.com/office/drawing/2014/main" id="{2667818E-6A1E-4A4C-AFD4-C135288874B4}"/>
              </a:ext>
            </a:extLst>
          </p:cNvPr>
          <p:cNvGrpSpPr/>
          <p:nvPr/>
        </p:nvGrpSpPr>
        <p:grpSpPr>
          <a:xfrm>
            <a:off x="10990764" y="364362"/>
            <a:ext cx="867864" cy="231551"/>
            <a:chOff x="464743" y="1368699"/>
            <a:chExt cx="2380059" cy="635012"/>
          </a:xfrm>
        </p:grpSpPr>
        <p:sp>
          <p:nvSpPr>
            <p:cNvPr id="55" name="Oval 5">
              <a:extLst>
                <a:ext uri="{FF2B5EF4-FFF2-40B4-BE49-F238E27FC236}">
                  <a16:creationId xmlns:a16="http://schemas.microsoft.com/office/drawing/2014/main" id="{C189E95A-38EA-45B6-9D02-6E1D97071C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56" name="Freeform 6">
              <a:extLst>
                <a:ext uri="{FF2B5EF4-FFF2-40B4-BE49-F238E27FC236}">
                  <a16:creationId xmlns:a16="http://schemas.microsoft.com/office/drawing/2014/main" id="{D2EEF067-6E8B-4787-9FDF-44E23FF2BA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57" name="Gruppieren 56">
              <a:extLst>
                <a:ext uri="{FF2B5EF4-FFF2-40B4-BE49-F238E27FC236}">
                  <a16:creationId xmlns:a16="http://schemas.microsoft.com/office/drawing/2014/main" id="{B766481E-25DF-4E9E-8BB7-4E620E81A44B}"/>
                </a:ext>
              </a:extLst>
            </p:cNvPr>
            <p:cNvGrpSpPr/>
            <p:nvPr/>
          </p:nvGrpSpPr>
          <p:grpSpPr>
            <a:xfrm>
              <a:off x="1311220" y="1530566"/>
              <a:ext cx="1533582" cy="307587"/>
              <a:chOff x="3987943" y="2307132"/>
              <a:chExt cx="2607166" cy="522910"/>
            </a:xfrm>
          </p:grpSpPr>
          <p:sp>
            <p:nvSpPr>
              <p:cNvPr id="58" name="Freeform 7">
                <a:extLst>
                  <a:ext uri="{FF2B5EF4-FFF2-40B4-BE49-F238E27FC236}">
                    <a16:creationId xmlns:a16="http://schemas.microsoft.com/office/drawing/2014/main" id="{4D630AF5-8630-4F31-9C90-CB14509D63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59" name="Freeform 8">
                <a:extLst>
                  <a:ext uri="{FF2B5EF4-FFF2-40B4-BE49-F238E27FC236}">
                    <a16:creationId xmlns:a16="http://schemas.microsoft.com/office/drawing/2014/main" id="{D7054DC7-CBA2-4C25-9F87-1FD140BC82D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0" name="Freeform 9">
                <a:extLst>
                  <a:ext uri="{FF2B5EF4-FFF2-40B4-BE49-F238E27FC236}">
                    <a16:creationId xmlns:a16="http://schemas.microsoft.com/office/drawing/2014/main" id="{4A833CE3-BEE9-415B-AC22-C39DBFA7A1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1" name="Freeform 10">
                <a:extLst>
                  <a:ext uri="{FF2B5EF4-FFF2-40B4-BE49-F238E27FC236}">
                    <a16:creationId xmlns:a16="http://schemas.microsoft.com/office/drawing/2014/main" id="{EE226485-6678-4B19-8051-5EC8249F4E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2" name="Freeform 11">
                <a:extLst>
                  <a:ext uri="{FF2B5EF4-FFF2-40B4-BE49-F238E27FC236}">
                    <a16:creationId xmlns:a16="http://schemas.microsoft.com/office/drawing/2014/main" id="{3BD573E8-29EC-4613-8FCC-EA264FFB7C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3" name="Freeform 12">
                <a:extLst>
                  <a:ext uri="{FF2B5EF4-FFF2-40B4-BE49-F238E27FC236}">
                    <a16:creationId xmlns:a16="http://schemas.microsoft.com/office/drawing/2014/main" id="{1045D026-AE12-444C-A892-8710BC1CC65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4" name="Freeform 13">
                <a:extLst>
                  <a:ext uri="{FF2B5EF4-FFF2-40B4-BE49-F238E27FC236}">
                    <a16:creationId xmlns:a16="http://schemas.microsoft.com/office/drawing/2014/main" id="{969A310D-4C62-4F20-8DB3-23D3EB19BD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5" name="Freeform 14">
                <a:extLst>
                  <a:ext uri="{FF2B5EF4-FFF2-40B4-BE49-F238E27FC236}">
                    <a16:creationId xmlns:a16="http://schemas.microsoft.com/office/drawing/2014/main" id="{82405CCE-A18D-49D5-AEEB-9BB84F66B20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6" name="Freeform 15">
                <a:extLst>
                  <a:ext uri="{FF2B5EF4-FFF2-40B4-BE49-F238E27FC236}">
                    <a16:creationId xmlns:a16="http://schemas.microsoft.com/office/drawing/2014/main" id="{76EB0AFD-7208-4A2E-8C9C-242989F4AD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7" name="Freeform 16">
                <a:extLst>
                  <a:ext uri="{FF2B5EF4-FFF2-40B4-BE49-F238E27FC236}">
                    <a16:creationId xmlns:a16="http://schemas.microsoft.com/office/drawing/2014/main" id="{BEDD3FC9-69F4-4907-86DD-5EA7BF30CC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cxnSp>
        <p:nvCxnSpPr>
          <p:cNvPr id="44" name="Gerader Verbinder 43">
            <a:extLst>
              <a:ext uri="{FF2B5EF4-FFF2-40B4-BE49-F238E27FC236}">
                <a16:creationId xmlns:a16="http://schemas.microsoft.com/office/drawing/2014/main" id="{5CC5A9D1-9CF7-4E59-BAA9-6A78649E671E}"/>
              </a:ext>
            </a:extLst>
          </p:cNvPr>
          <p:cNvCxnSpPr/>
          <p:nvPr/>
        </p:nvCxnSpPr>
        <p:spPr>
          <a:xfrm>
            <a:off x="915988" y="-214869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r Verbinder 46">
            <a:extLst>
              <a:ext uri="{FF2B5EF4-FFF2-40B4-BE49-F238E27FC236}">
                <a16:creationId xmlns:a16="http://schemas.microsoft.com/office/drawing/2014/main" id="{D1454764-EFB9-4832-B2A4-C4ACCC03E157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6189653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6" name="Objekt 14" hidden="1">
            <a:extLst>
              <a:ext uri="{FF2B5EF4-FFF2-40B4-BE49-F238E27FC236}">
                <a16:creationId xmlns:a16="http://schemas.microsoft.com/office/drawing/2014/main" id="{7439F3FA-9FB0-46C1-934A-7BB76942E6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27942399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3" imgW="344" imgH="345" progId="TCLayout.ActiveDocument.1">
                  <p:embed/>
                </p:oleObj>
              </mc:Choice>
              <mc:Fallback>
                <p:oleObj name="think-cell Folie" r:id="rId33" imgW="344" imgH="345" progId="TCLayout.ActiveDocument.1">
                  <p:embed/>
                  <p:pic>
                    <p:nvPicPr>
                      <p:cNvPr id="46" name="Objekt 14" hidden="1">
                        <a:extLst>
                          <a:ext uri="{FF2B5EF4-FFF2-40B4-BE49-F238E27FC236}">
                            <a16:creationId xmlns:a16="http://schemas.microsoft.com/office/drawing/2014/main" id="{7439F3FA-9FB0-46C1-934A-7BB76942E6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" name="Rechteck 13" hidden="1">
            <a:extLst>
              <a:ext uri="{FF2B5EF4-FFF2-40B4-BE49-F238E27FC236}">
                <a16:creationId xmlns:a16="http://schemas.microsoft.com/office/drawing/2014/main" id="{662020D5-745F-4095-A1D5-1C8F27F8D4AD}"/>
              </a:ext>
            </a:extLst>
          </p:cNvPr>
          <p:cNvSpPr/>
          <p:nvPr userDrawn="1">
            <p:custDataLst>
              <p:tags r:id="rId3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200" b="0" i="0" baseline="0">
              <a:latin typeface="Franklin Gothic Medium" panose="020B0603020102020204" pitchFamily="34" charset="0"/>
              <a:ea typeface="+mj-ea"/>
              <a:cs typeface="+mj-cs"/>
              <a:sym typeface="Franklin Gothic Medium" panose="020B0603020102020204" pitchFamily="34" charset="0"/>
            </a:endParaRPr>
          </a:p>
        </p:txBody>
      </p:sp>
      <p:sp>
        <p:nvSpPr>
          <p:cNvPr id="50" name="Titel 1">
            <a:extLst>
              <a:ext uri="{FF2B5EF4-FFF2-40B4-BE49-F238E27FC236}">
                <a16:creationId xmlns:a16="http://schemas.microsoft.com/office/drawing/2014/main" id="{F6EAAF46-38F8-48A1-96C3-B4D4ED8AE0CD}"/>
              </a:ext>
            </a:extLst>
          </p:cNvPr>
          <p:cNvSpPr txBox="1">
            <a:spLocks/>
          </p:cNvSpPr>
          <p:nvPr userDrawn="1"/>
        </p:nvSpPr>
        <p:spPr bwMode="gray">
          <a:xfrm>
            <a:off x="371364" y="6495967"/>
            <a:ext cx="810603" cy="138499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900">
                <a:solidFill>
                  <a:schemeClr val="tx2"/>
                </a:solidFill>
                <a:latin typeface="+mn-lt"/>
              </a:rPr>
              <a:t>LichtBlick SE</a:t>
            </a:r>
          </a:p>
        </p:txBody>
      </p:sp>
      <p:sp>
        <p:nvSpPr>
          <p:cNvPr id="51" name="Rechteck 9">
            <a:extLst>
              <a:ext uri="{FF2B5EF4-FFF2-40B4-BE49-F238E27FC236}">
                <a16:creationId xmlns:a16="http://schemas.microsoft.com/office/drawing/2014/main" id="{50371395-8C6A-4EAD-AAE0-9245401D8E77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noFill/>
          <a:ln w="6350">
            <a:solidFill>
              <a:srgbClr val="DCDCD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n w="6350">
                <a:solidFill>
                  <a:schemeClr val="tx1"/>
                </a:solidFill>
              </a:ln>
            </a:endParaRPr>
          </a:p>
        </p:txBody>
      </p:sp>
      <p:sp>
        <p:nvSpPr>
          <p:cNvPr id="52" name="Freihandform 18">
            <a:extLst>
              <a:ext uri="{FF2B5EF4-FFF2-40B4-BE49-F238E27FC236}">
                <a16:creationId xmlns:a16="http://schemas.microsoft.com/office/drawing/2014/main" id="{F66A3062-3E07-4305-AEBE-F00DAE4E1CB8}"/>
              </a:ext>
            </a:extLst>
          </p:cNvPr>
          <p:cNvSpPr/>
          <p:nvPr userDrawn="1"/>
        </p:nvSpPr>
        <p:spPr bwMode="gray">
          <a:xfrm>
            <a:off x="11105877" y="6106855"/>
            <a:ext cx="1086123" cy="751144"/>
          </a:xfrm>
          <a:custGeom>
            <a:avLst/>
            <a:gdLst>
              <a:gd name="connsiteX0" fmla="*/ 1035701 w 1086123"/>
              <a:gd name="connsiteY0" fmla="*/ 673542 h 751144"/>
              <a:gd name="connsiteX1" fmla="*/ 1018841 w 1086123"/>
              <a:gd name="connsiteY1" fmla="*/ 751144 h 751144"/>
              <a:gd name="connsiteX2" fmla="*/ 751514 w 1086123"/>
              <a:gd name="connsiteY2" fmla="*/ 751144 h 751144"/>
              <a:gd name="connsiteX3" fmla="*/ 748933 w 1086123"/>
              <a:gd name="connsiteY3" fmla="*/ 748693 h 751144"/>
              <a:gd name="connsiteX4" fmla="*/ 1035701 w 1086123"/>
              <a:gd name="connsiteY4" fmla="*/ 673542 h 751144"/>
              <a:gd name="connsiteX5" fmla="*/ 288455 w 1086123"/>
              <a:gd name="connsiteY5" fmla="*/ 613231 h 751144"/>
              <a:gd name="connsiteX6" fmla="*/ 658816 w 1086123"/>
              <a:gd name="connsiteY6" fmla="*/ 747835 h 751144"/>
              <a:gd name="connsiteX7" fmla="*/ 661557 w 1086123"/>
              <a:gd name="connsiteY7" fmla="*/ 751144 h 751144"/>
              <a:gd name="connsiteX8" fmla="*/ 240675 w 1086123"/>
              <a:gd name="connsiteY8" fmla="*/ 751144 h 751144"/>
              <a:gd name="connsiteX9" fmla="*/ 240840 w 1086123"/>
              <a:gd name="connsiteY9" fmla="*/ 749671 h 751144"/>
              <a:gd name="connsiteX10" fmla="*/ 288455 w 1086123"/>
              <a:gd name="connsiteY10" fmla="*/ 613231 h 751144"/>
              <a:gd name="connsiteX11" fmla="*/ 73748 w 1086123"/>
              <a:gd name="connsiteY11" fmla="*/ 369743 h 751144"/>
              <a:gd name="connsiteX12" fmla="*/ 94418 w 1086123"/>
              <a:gd name="connsiteY12" fmla="*/ 406451 h 751144"/>
              <a:gd name="connsiteX13" fmla="*/ 232441 w 1086123"/>
              <a:gd name="connsiteY13" fmla="*/ 568346 h 751144"/>
              <a:gd name="connsiteX14" fmla="*/ 174808 w 1086123"/>
              <a:gd name="connsiteY14" fmla="*/ 725715 h 751144"/>
              <a:gd name="connsiteX15" fmla="*/ 171777 w 1086123"/>
              <a:gd name="connsiteY15" fmla="*/ 751144 h 751144"/>
              <a:gd name="connsiteX16" fmla="*/ 7450 w 1086123"/>
              <a:gd name="connsiteY16" fmla="*/ 751144 h 751144"/>
              <a:gd name="connsiteX17" fmla="*/ 0 w 1086123"/>
              <a:gd name="connsiteY17" fmla="*/ 677044 h 751144"/>
              <a:gd name="connsiteX18" fmla="*/ 53305 w 1086123"/>
              <a:gd name="connsiteY18" fmla="*/ 412297 h 751144"/>
              <a:gd name="connsiteX19" fmla="*/ 519837 w 1086123"/>
              <a:gd name="connsiteY19" fmla="*/ 345915 h 751144"/>
              <a:gd name="connsiteX20" fmla="*/ 610788 w 1086123"/>
              <a:gd name="connsiteY20" fmla="*/ 671985 h 751144"/>
              <a:gd name="connsiteX21" fmla="*/ 321692 w 1086123"/>
              <a:gd name="connsiteY21" fmla="*/ 551339 h 751144"/>
              <a:gd name="connsiteX22" fmla="*/ 519837 w 1086123"/>
              <a:gd name="connsiteY22" fmla="*/ 345915 h 751144"/>
              <a:gd name="connsiteX23" fmla="*/ 1026776 w 1086123"/>
              <a:gd name="connsiteY23" fmla="*/ 252141 h 751144"/>
              <a:gd name="connsiteX24" fmla="*/ 1086123 w 1086123"/>
              <a:gd name="connsiteY24" fmla="*/ 272008 h 751144"/>
              <a:gd name="connsiteX25" fmla="*/ 1086123 w 1086123"/>
              <a:gd name="connsiteY25" fmla="*/ 412436 h 751144"/>
              <a:gd name="connsiteX26" fmla="*/ 1082754 w 1086123"/>
              <a:gd name="connsiteY26" fmla="*/ 392721 h 751144"/>
              <a:gd name="connsiteX27" fmla="*/ 1026776 w 1086123"/>
              <a:gd name="connsiteY27" fmla="*/ 252141 h 751144"/>
              <a:gd name="connsiteX28" fmla="*/ 811915 w 1086123"/>
              <a:gd name="connsiteY28" fmla="*/ 242518 h 751144"/>
              <a:gd name="connsiteX29" fmla="*/ 1008876 w 1086123"/>
              <a:gd name="connsiteY29" fmla="*/ 393047 h 751144"/>
              <a:gd name="connsiteX30" fmla="*/ 878877 w 1086123"/>
              <a:gd name="connsiteY30" fmla="*/ 657577 h 751144"/>
              <a:gd name="connsiteX31" fmla="*/ 620502 w 1086123"/>
              <a:gd name="connsiteY31" fmla="*/ 516331 h 751144"/>
              <a:gd name="connsiteX32" fmla="*/ 751314 w 1086123"/>
              <a:gd name="connsiteY32" fmla="*/ 251801 h 751144"/>
              <a:gd name="connsiteX33" fmla="*/ 811915 w 1086123"/>
              <a:gd name="connsiteY33" fmla="*/ 242518 h 751144"/>
              <a:gd name="connsiteX34" fmla="*/ 824105 w 1086123"/>
              <a:gd name="connsiteY34" fmla="*/ 13050 h 751144"/>
              <a:gd name="connsiteX35" fmla="*/ 880017 w 1086123"/>
              <a:gd name="connsiteY35" fmla="*/ 27466 h 751144"/>
              <a:gd name="connsiteX36" fmla="*/ 1030036 w 1086123"/>
              <a:gd name="connsiteY36" fmla="*/ 95356 h 751144"/>
              <a:gd name="connsiteX37" fmla="*/ 1086123 w 1086123"/>
              <a:gd name="connsiteY37" fmla="*/ 134335 h 751144"/>
              <a:gd name="connsiteX38" fmla="*/ 1086123 w 1086123"/>
              <a:gd name="connsiteY38" fmla="*/ 195151 h 751144"/>
              <a:gd name="connsiteX39" fmla="*/ 1084145 w 1086123"/>
              <a:gd name="connsiteY39" fmla="*/ 194423 h 751144"/>
              <a:gd name="connsiteX40" fmla="*/ 977328 w 1086123"/>
              <a:gd name="connsiteY40" fmla="*/ 172031 h 751144"/>
              <a:gd name="connsiteX41" fmla="*/ 832504 w 1086123"/>
              <a:gd name="connsiteY41" fmla="*/ 19068 h 751144"/>
              <a:gd name="connsiteX42" fmla="*/ 590403 w 1086123"/>
              <a:gd name="connsiteY42" fmla="*/ 3238 h 751144"/>
              <a:gd name="connsiteX43" fmla="*/ 572100 w 1086123"/>
              <a:gd name="connsiteY43" fmla="*/ 42273 h 751144"/>
              <a:gd name="connsiteX44" fmla="*/ 521397 w 1086123"/>
              <a:gd name="connsiteY44" fmla="*/ 262672 h 751144"/>
              <a:gd name="connsiteX45" fmla="*/ 267221 w 1086123"/>
              <a:gd name="connsiteY45" fmla="*/ 506616 h 751144"/>
              <a:gd name="connsiteX46" fmla="*/ 135325 w 1086123"/>
              <a:gd name="connsiteY46" fmla="*/ 337846 h 751144"/>
              <a:gd name="connsiteX47" fmla="*/ 115730 w 1086123"/>
              <a:gd name="connsiteY47" fmla="*/ 296951 h 751144"/>
              <a:gd name="connsiteX48" fmla="*/ 115845 w 1086123"/>
              <a:gd name="connsiteY48" fmla="*/ 296762 h 751144"/>
              <a:gd name="connsiteX49" fmla="*/ 541606 w 1086123"/>
              <a:gd name="connsiteY49" fmla="*/ 10706 h 751144"/>
              <a:gd name="connsiteX50" fmla="*/ 670086 w 1086123"/>
              <a:gd name="connsiteY50" fmla="*/ 0 h 751144"/>
              <a:gd name="connsiteX51" fmla="*/ 883974 w 1086123"/>
              <a:gd name="connsiteY51" fmla="*/ 166233 h 751144"/>
              <a:gd name="connsiteX52" fmla="*/ 883161 w 1086123"/>
              <a:gd name="connsiteY52" fmla="*/ 166233 h 751144"/>
              <a:gd name="connsiteX53" fmla="*/ 595266 w 1086123"/>
              <a:gd name="connsiteY53" fmla="*/ 224903 h 751144"/>
              <a:gd name="connsiteX54" fmla="*/ 670086 w 1086123"/>
              <a:gd name="connsiteY54" fmla="*/ 0 h 7511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1086123" h="751144">
                <a:moveTo>
                  <a:pt x="1035701" y="673542"/>
                </a:moveTo>
                <a:lnTo>
                  <a:pt x="1018841" y="751144"/>
                </a:lnTo>
                <a:lnTo>
                  <a:pt x="751514" y="751144"/>
                </a:lnTo>
                <a:lnTo>
                  <a:pt x="748933" y="748693"/>
                </a:lnTo>
                <a:cubicBezTo>
                  <a:pt x="852105" y="743791"/>
                  <a:pt x="948777" y="716835"/>
                  <a:pt x="1035701" y="673542"/>
                </a:cubicBezTo>
                <a:close/>
                <a:moveTo>
                  <a:pt x="288455" y="613231"/>
                </a:moveTo>
                <a:cubicBezTo>
                  <a:pt x="394040" y="689099"/>
                  <a:pt x="521555" y="738046"/>
                  <a:pt x="658816" y="747835"/>
                </a:cubicBezTo>
                <a:lnTo>
                  <a:pt x="661557" y="751144"/>
                </a:lnTo>
                <a:lnTo>
                  <a:pt x="240675" y="751144"/>
                </a:lnTo>
                <a:lnTo>
                  <a:pt x="240840" y="749671"/>
                </a:lnTo>
                <a:cubicBezTo>
                  <a:pt x="251703" y="702152"/>
                  <a:pt x="267744" y="656468"/>
                  <a:pt x="288455" y="613231"/>
                </a:cubicBezTo>
                <a:close/>
                <a:moveTo>
                  <a:pt x="73748" y="369743"/>
                </a:moveTo>
                <a:lnTo>
                  <a:pt x="94418" y="406451"/>
                </a:lnTo>
                <a:cubicBezTo>
                  <a:pt x="132421" y="467071"/>
                  <a:pt x="178772" y="521839"/>
                  <a:pt x="232441" y="568346"/>
                </a:cubicBezTo>
                <a:cubicBezTo>
                  <a:pt x="207639" y="618117"/>
                  <a:pt x="188123" y="670743"/>
                  <a:pt x="174808" y="725715"/>
                </a:cubicBezTo>
                <a:lnTo>
                  <a:pt x="171777" y="751144"/>
                </a:lnTo>
                <a:lnTo>
                  <a:pt x="7450" y="751144"/>
                </a:lnTo>
                <a:lnTo>
                  <a:pt x="0" y="677044"/>
                </a:lnTo>
                <a:cubicBezTo>
                  <a:pt x="0" y="583134"/>
                  <a:pt x="18981" y="493669"/>
                  <a:pt x="53305" y="412297"/>
                </a:cubicBezTo>
                <a:close/>
                <a:moveTo>
                  <a:pt x="519837" y="345915"/>
                </a:moveTo>
                <a:cubicBezTo>
                  <a:pt x="523897" y="464116"/>
                  <a:pt x="556380" y="574164"/>
                  <a:pt x="610788" y="671985"/>
                </a:cubicBezTo>
                <a:cubicBezTo>
                  <a:pt x="503595" y="654867"/>
                  <a:pt x="405335" y="612478"/>
                  <a:pt x="321692" y="551339"/>
                </a:cubicBezTo>
                <a:cubicBezTo>
                  <a:pt x="372040" y="469007"/>
                  <a:pt x="439442" y="398901"/>
                  <a:pt x="519837" y="345915"/>
                </a:cubicBezTo>
                <a:close/>
                <a:moveTo>
                  <a:pt x="1026776" y="252141"/>
                </a:moveTo>
                <a:lnTo>
                  <a:pt x="1086123" y="272008"/>
                </a:lnTo>
                <a:lnTo>
                  <a:pt x="1086123" y="412436"/>
                </a:lnTo>
                <a:lnTo>
                  <a:pt x="1082754" y="392721"/>
                </a:lnTo>
                <a:cubicBezTo>
                  <a:pt x="1068836" y="343620"/>
                  <a:pt x="1049940" y="296556"/>
                  <a:pt x="1026776" y="252141"/>
                </a:cubicBezTo>
                <a:close/>
                <a:moveTo>
                  <a:pt x="811915" y="242518"/>
                </a:moveTo>
                <a:cubicBezTo>
                  <a:pt x="899002" y="243085"/>
                  <a:pt x="980490" y="302166"/>
                  <a:pt x="1008876" y="393047"/>
                </a:cubicBezTo>
                <a:cubicBezTo>
                  <a:pt x="1044626" y="504901"/>
                  <a:pt x="986126" y="623286"/>
                  <a:pt x="878877" y="657577"/>
                </a:cubicBezTo>
                <a:cubicBezTo>
                  <a:pt x="771627" y="691052"/>
                  <a:pt x="655440" y="628185"/>
                  <a:pt x="620502" y="516331"/>
                </a:cubicBezTo>
                <a:cubicBezTo>
                  <a:pt x="585565" y="403661"/>
                  <a:pt x="644065" y="285276"/>
                  <a:pt x="751314" y="251801"/>
                </a:cubicBezTo>
                <a:cubicBezTo>
                  <a:pt x="771424" y="245372"/>
                  <a:pt x="791819" y="242387"/>
                  <a:pt x="811915" y="242518"/>
                </a:cubicBezTo>
                <a:close/>
                <a:moveTo>
                  <a:pt x="824105" y="13050"/>
                </a:moveTo>
                <a:lnTo>
                  <a:pt x="880017" y="27466"/>
                </a:lnTo>
                <a:cubicBezTo>
                  <a:pt x="933117" y="44027"/>
                  <a:pt x="983419" y="66954"/>
                  <a:pt x="1030036" y="95356"/>
                </a:cubicBezTo>
                <a:lnTo>
                  <a:pt x="1086123" y="134335"/>
                </a:lnTo>
                <a:lnTo>
                  <a:pt x="1086123" y="195151"/>
                </a:lnTo>
                <a:lnTo>
                  <a:pt x="1084145" y="194423"/>
                </a:lnTo>
                <a:cubicBezTo>
                  <a:pt x="1049568" y="184463"/>
                  <a:pt x="1013906" y="176928"/>
                  <a:pt x="977328" y="172031"/>
                </a:cubicBezTo>
                <a:cubicBezTo>
                  <a:pt x="936483" y="114503"/>
                  <a:pt x="887865" y="62941"/>
                  <a:pt x="832504" y="19068"/>
                </a:cubicBezTo>
                <a:close/>
                <a:moveTo>
                  <a:pt x="590403" y="3238"/>
                </a:moveTo>
                <a:lnTo>
                  <a:pt x="572100" y="42273"/>
                </a:lnTo>
                <a:cubicBezTo>
                  <a:pt x="544236" y="110920"/>
                  <a:pt x="526878" y="184960"/>
                  <a:pt x="521397" y="262672"/>
                </a:cubicBezTo>
                <a:cubicBezTo>
                  <a:pt x="418265" y="322230"/>
                  <a:pt x="330562" y="406264"/>
                  <a:pt x="267221" y="506616"/>
                </a:cubicBezTo>
                <a:cubicBezTo>
                  <a:pt x="214234" y="458276"/>
                  <a:pt x="169926" y="401216"/>
                  <a:pt x="135325" y="337846"/>
                </a:cubicBezTo>
                <a:lnTo>
                  <a:pt x="115730" y="296951"/>
                </a:lnTo>
                <a:lnTo>
                  <a:pt x="115845" y="296762"/>
                </a:lnTo>
                <a:cubicBezTo>
                  <a:pt x="213362" y="152024"/>
                  <a:pt x="364981" y="46947"/>
                  <a:pt x="541606" y="10706"/>
                </a:cubicBezTo>
                <a:close/>
                <a:moveTo>
                  <a:pt x="670086" y="0"/>
                </a:moveTo>
                <a:cubicBezTo>
                  <a:pt x="752226" y="39929"/>
                  <a:pt x="825419" y="96155"/>
                  <a:pt x="883974" y="166233"/>
                </a:cubicBezTo>
                <a:cubicBezTo>
                  <a:pt x="883974" y="166233"/>
                  <a:pt x="883161" y="166233"/>
                  <a:pt x="883161" y="166233"/>
                </a:cubicBezTo>
                <a:cubicBezTo>
                  <a:pt x="780690" y="166233"/>
                  <a:pt x="683099" y="186605"/>
                  <a:pt x="595266" y="224903"/>
                </a:cubicBezTo>
                <a:cubicBezTo>
                  <a:pt x="606652" y="144232"/>
                  <a:pt x="631863" y="68449"/>
                  <a:pt x="670086" y="0"/>
                </a:cubicBezTo>
                <a:close/>
              </a:path>
            </a:pathLst>
          </a:custGeom>
          <a:solidFill>
            <a:srgbClr val="DCDC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279277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0" r:id="rId1"/>
    <p:sldLayoutId id="2147483821" r:id="rId2"/>
    <p:sldLayoutId id="2147483822" r:id="rId3"/>
    <p:sldLayoutId id="2147483823" r:id="rId4"/>
    <p:sldLayoutId id="2147483824" r:id="rId5"/>
    <p:sldLayoutId id="2147483825" r:id="rId6"/>
    <p:sldLayoutId id="2147483826" r:id="rId7"/>
    <p:sldLayoutId id="2147483827" r:id="rId8"/>
    <p:sldLayoutId id="2147483828" r:id="rId9"/>
    <p:sldLayoutId id="2147483829" r:id="rId10"/>
    <p:sldLayoutId id="2147483830" r:id="rId11"/>
    <p:sldLayoutId id="2147483831" r:id="rId12"/>
    <p:sldLayoutId id="2147483832" r:id="rId13"/>
    <p:sldLayoutId id="2147483833" r:id="rId14"/>
    <p:sldLayoutId id="2147483834" r:id="rId15"/>
    <p:sldLayoutId id="2147483835" r:id="rId16"/>
    <p:sldLayoutId id="2147483836" r:id="rId17"/>
    <p:sldLayoutId id="2147483837" r:id="rId18"/>
    <p:sldLayoutId id="2147483838" r:id="rId19"/>
    <p:sldLayoutId id="2147483839" r:id="rId20"/>
    <p:sldLayoutId id="2147483840" r:id="rId21"/>
    <p:sldLayoutId id="2147483841" r:id="rId22"/>
    <p:sldLayoutId id="2147483842" r:id="rId23"/>
    <p:sldLayoutId id="2147483843" r:id="rId24"/>
    <p:sldLayoutId id="2147483844" r:id="rId25"/>
    <p:sldLayoutId id="2147483845" r:id="rId26"/>
    <p:sldLayoutId id="2147483846" r:id="rId27"/>
    <p:sldLayoutId id="2147483847" r:id="rId28"/>
    <p:sldLayoutId id="2147483848" r:id="rId2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de-DE" sz="2400" kern="1200" baseline="0" dirty="0">
          <a:solidFill>
            <a:schemeClr val="tx1"/>
          </a:solidFill>
          <a:latin typeface="Officina Sans ITC Pro Medium" panose="020C0606030503020204" pitchFamily="34" charset="0"/>
          <a:ea typeface="Inter Medium" panose="020B0502030000000004" pitchFamily="34" charset="0"/>
          <a:cs typeface="+mn-cs"/>
        </a:defRPr>
      </a:lvl1pPr>
      <a:lvl2pPr algn="l" eaLnBrk="1" hangingPunct="1">
        <a:defRPr sz="2400" kern="1200" baseline="0">
          <a:solidFill>
            <a:schemeClr val="tx1"/>
          </a:solidFill>
          <a:latin typeface="+mj-lt"/>
        </a:defRPr>
      </a:lvl2pPr>
      <a:lvl3pPr algn="l" eaLnBrk="1" hangingPunct="1">
        <a:defRPr sz="2400" kern="1200" baseline="0">
          <a:solidFill>
            <a:schemeClr val="tx1"/>
          </a:solidFill>
          <a:latin typeface="+mj-lt"/>
        </a:defRPr>
      </a:lvl3pPr>
      <a:lvl4pPr algn="l" eaLnBrk="1" hangingPunct="1">
        <a:defRPr sz="2400" b="0" kern="1200" baseline="0">
          <a:solidFill>
            <a:schemeClr val="tx1"/>
          </a:solidFill>
          <a:latin typeface="+mj-lt"/>
        </a:defRPr>
      </a:lvl4pPr>
      <a:lvl5pPr algn="l" eaLnBrk="1" hangingPunct="1">
        <a:defRPr sz="2400" kern="1200" baseline="0">
          <a:solidFill>
            <a:schemeClr val="tx1"/>
          </a:solidFill>
          <a:latin typeface="+mj-lt"/>
        </a:defRPr>
      </a:lvl5pPr>
      <a:lvl6pPr algn="l" eaLnBrk="1" hangingPunct="1">
        <a:defRPr sz="2400" kern="1200" baseline="0">
          <a:solidFill>
            <a:schemeClr val="tx1"/>
          </a:solidFill>
          <a:latin typeface="+mj-lt"/>
        </a:defRPr>
      </a:lvl6pPr>
      <a:lvl7pPr algn="l" eaLnBrk="1" hangingPunct="1">
        <a:defRPr sz="2400" kern="1200" baseline="0">
          <a:solidFill>
            <a:schemeClr val="tx1"/>
          </a:solidFill>
          <a:latin typeface="+mj-lt"/>
        </a:defRPr>
      </a:lvl7pPr>
      <a:lvl8pPr algn="l" eaLnBrk="1" hangingPunct="1">
        <a:defRPr sz="2400" kern="1200" baseline="0">
          <a:solidFill>
            <a:schemeClr val="tx1"/>
          </a:solidFill>
          <a:latin typeface="+mj-lt"/>
        </a:defRPr>
      </a:lvl8pPr>
      <a:lvl9pPr algn="l" eaLnBrk="1" hangingPunct="1">
        <a:defRPr sz="2400" kern="1200" baseline="0">
          <a:solidFill>
            <a:schemeClr val="tx1"/>
          </a:solidFill>
          <a:latin typeface="+mj-lt"/>
        </a:defRPr>
      </a:lvl9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32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SzPct val="90000"/>
        <a:buFont typeface="Inter Semi Bold" panose="020B0702030000000004" pitchFamily="34" charset="0"/>
        <a:buChar char="○"/>
        <a:defRPr lang="de-DE" sz="1200" b="0" kern="1200" dirty="0">
          <a:solidFill>
            <a:schemeClr val="tx1"/>
          </a:solidFill>
          <a:latin typeface="Inter Semi Bold" panose="020B0702030000000004" pitchFamily="34" charset="0"/>
          <a:ea typeface="Inter Semi Bold" panose="020B0702030000000004" pitchFamily="34" charset="0"/>
          <a:cs typeface="+mn-cs"/>
        </a:defRPr>
      </a:lvl2pPr>
      <a:lvl3pPr marL="720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-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+mj-lt"/>
        <a:buAutoNum type="arabicPeriod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+mj-lt"/>
        <a:buAutoNum type="alphaLcPeriod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600" b="0" kern="1200">
          <a:solidFill>
            <a:schemeClr val="tx1"/>
          </a:solidFill>
          <a:latin typeface="Inter Semi Bold" panose="020B0702030000000004" pitchFamily="34" charset="0"/>
          <a:ea typeface="Inter Semi Bold" panose="020B0702030000000004" pitchFamily="34" charset="0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600" b="0" kern="1200">
          <a:solidFill>
            <a:schemeClr val="accent1"/>
          </a:solidFill>
          <a:latin typeface="Inter Semi Bold" panose="020B0702030000000004" pitchFamily="34" charset="0"/>
          <a:ea typeface="Inter Semi Bold" panose="020B0702030000000004" pitchFamily="34" charset="0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F26B43"/>
          </p15:clr>
        </p15:guide>
        <p15:guide id="10" orient="horz" pos="2546">
          <p15:clr>
            <a:srgbClr val="A4A3A4"/>
          </p15:clr>
        </p15:guide>
        <p15:guide id="11" orient="horz" pos="1774">
          <p15:clr>
            <a:srgbClr val="A4A3A4"/>
          </p15:clr>
        </p15:guide>
        <p15:guide id="12" orient="horz" pos="1003">
          <p15:clr>
            <a:srgbClr val="F26B43"/>
          </p15:clr>
        </p15:guide>
        <p15:guide id="13" orient="horz" pos="3317">
          <p15:clr>
            <a:srgbClr val="A4A3A4"/>
          </p15:clr>
        </p15:guide>
        <p15:guide id="14" orient="horz" pos="4088">
          <p15:clr>
            <a:srgbClr val="A4A3A4"/>
          </p15:clr>
        </p15:guide>
        <p15:guide id="15" orient="horz" pos="232">
          <p15:clr>
            <a:srgbClr val="F26B43"/>
          </p15:clr>
        </p15:guide>
        <p15:guide id="17" pos="211">
          <p15:clr>
            <a:srgbClr val="F26B43"/>
          </p15:clr>
        </p15:guide>
        <p15:guide id="18" pos="7469">
          <p15:clr>
            <a:srgbClr val="F26B43"/>
          </p15:clr>
        </p15:guide>
        <p15:guide id="19" pos="6743">
          <p15:clr>
            <a:srgbClr val="A4A3A4"/>
          </p15:clr>
        </p15:guide>
        <p15:guide id="20" pos="937">
          <p15:clr>
            <a:srgbClr val="A4A3A4"/>
          </p15:clr>
        </p15:guide>
        <p15:guide id="21" pos="1663">
          <p15:clr>
            <a:srgbClr val="A4A3A4"/>
          </p15:clr>
        </p15:guide>
        <p15:guide id="22" pos="2389">
          <p15:clr>
            <a:srgbClr val="A4A3A4"/>
          </p15:clr>
        </p15:guide>
        <p15:guide id="23" pos="5292">
          <p15:clr>
            <a:srgbClr val="A4A3A4"/>
          </p15:clr>
        </p15:guide>
        <p15:guide id="24" pos="6017">
          <p15:clr>
            <a:srgbClr val="A4A3A4"/>
          </p15:clr>
        </p15:guide>
        <p15:guide id="25" pos="3114">
          <p15:clr>
            <a:srgbClr val="A4A3A4"/>
          </p15:clr>
        </p15:guide>
        <p15:guide id="26" pos="4566">
          <p15:clr>
            <a:srgbClr val="A4A3A4"/>
          </p15:clr>
        </p15:guide>
        <p15:guide id="27" pos="4793">
          <p15:clr>
            <a:srgbClr val="A4A3A4"/>
          </p15:clr>
        </p15:guide>
        <p15:guide id="28" pos="2887">
          <p15:clr>
            <a:srgbClr val="A4A3A4"/>
          </p15:clr>
        </p15:guide>
        <p15:guide id="29" orient="horz" pos="595">
          <p15:clr>
            <a:srgbClr val="A4A3A4"/>
          </p15:clr>
        </p15:guide>
        <p15:guide id="30" pos="574">
          <p15:clr>
            <a:srgbClr val="A4A3A4"/>
          </p15:clr>
        </p15:guide>
        <p15:guide id="31" orient="horz" pos="3952">
          <p15:clr>
            <a:srgbClr val="F26B43"/>
          </p15:clr>
        </p15:guide>
        <p15:guide id="32" pos="234" userDrawn="1">
          <p15:clr>
            <a:srgbClr val="F26B43"/>
          </p15:clr>
        </p15:guide>
        <p15:guide id="33" pos="7446" userDrawn="1">
          <p15:clr>
            <a:srgbClr val="F26B43"/>
          </p15:clr>
        </p15:guide>
        <p15:guide id="34" orient="horz" pos="935" userDrawn="1">
          <p15:clr>
            <a:srgbClr val="F26B43"/>
          </p15:clr>
        </p15:guide>
        <p15:guide id="35" orient="horz" pos="3997" userDrawn="1">
          <p15:clr>
            <a:srgbClr val="F26B43"/>
          </p15:clr>
        </p15:guide>
        <p15:guide id="36" pos="3976" userDrawn="1">
          <p15:clr>
            <a:srgbClr val="F26B43"/>
          </p15:clr>
        </p15:guide>
        <p15:guide id="37" pos="370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6.xml"/><Relationship Id="rId3" Type="http://schemas.openxmlformats.org/officeDocument/2006/relationships/chart" Target="../charts/chart1.xml"/><Relationship Id="rId7" Type="http://schemas.openxmlformats.org/officeDocument/2006/relationships/chart" Target="../charts/chart5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6.xml"/><Relationship Id="rId6" Type="http://schemas.openxmlformats.org/officeDocument/2006/relationships/chart" Target="../charts/chart4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9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DD9419C6-E375-4F8F-A9D2-5BDB4C9A8A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1</a:t>
            </a:fld>
            <a:endParaRPr lang="de-DE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9EB2C8E0-C48E-41BA-B15A-7B21F2FFBC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n Focus: </a:t>
            </a:r>
            <a:br>
              <a:rPr lang="en-GB" dirty="0"/>
            </a:br>
            <a:r>
              <a:rPr lang="en-GB" dirty="0"/>
              <a:t>Weather effects 2021-Q4</a:t>
            </a:r>
          </a:p>
        </p:txBody>
      </p:sp>
      <p:sp>
        <p:nvSpPr>
          <p:cNvPr id="5" name="Untertitel 4">
            <a:extLst>
              <a:ext uri="{FF2B5EF4-FFF2-40B4-BE49-F238E27FC236}">
                <a16:creationId xmlns:a16="http://schemas.microsoft.com/office/drawing/2014/main" id="{AEDF66BC-5AD4-4E2A-827C-646F8D625EC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P2H</a:t>
            </a:r>
          </a:p>
        </p:txBody>
      </p:sp>
    </p:spTree>
    <p:extLst>
      <p:ext uri="{BB962C8B-B14F-4D97-AF65-F5344CB8AC3E}">
        <p14:creationId xmlns:p14="http://schemas.microsoft.com/office/powerpoint/2010/main" val="2796724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EE3E5D2-6966-46CA-A142-F4EBD6ADED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Temperature-dependent</a:t>
            </a:r>
            <a:r>
              <a:rPr lang="de-DE" dirty="0"/>
              <a:t> B2C </a:t>
            </a:r>
            <a:r>
              <a:rPr lang="de-DE" dirty="0" err="1"/>
              <a:t>portfolios</a:t>
            </a:r>
            <a:r>
              <a:rPr lang="de-DE" dirty="0"/>
              <a:t> in 2021-Q4 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E22DF29-AD78-4FB2-8383-C2318D4D04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2</a:t>
            </a:fld>
            <a:endParaRPr lang="de-DE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6A26191C-A2DD-4360-B9B8-230D1D96EF5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b="1" dirty="0">
                <a:solidFill>
                  <a:schemeClr val="accent1"/>
                </a:solidFill>
              </a:rPr>
              <a:t>Short-term: high prices combined with cold and fluctuating temperatures, and underhedged portfolio</a:t>
            </a:r>
          </a:p>
          <a:p>
            <a:endParaRPr lang="en-US" dirty="0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5E4107A6-ED17-41D8-9137-052DCFFB219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04824862"/>
              </p:ext>
            </p:extLst>
          </p:nvPr>
        </p:nvGraphicFramePr>
        <p:xfrm>
          <a:off x="273600" y="1111329"/>
          <a:ext cx="3780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8" name="Chart 17">
            <a:extLst>
              <a:ext uri="{FF2B5EF4-FFF2-40B4-BE49-F238E27FC236}">
                <a16:creationId xmlns:a16="http://schemas.microsoft.com/office/drawing/2014/main" id="{5D11B4B5-7439-4F82-BE3D-5FFB7DA0606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07363785"/>
              </p:ext>
            </p:extLst>
          </p:nvPr>
        </p:nvGraphicFramePr>
        <p:xfrm>
          <a:off x="274638" y="3930562"/>
          <a:ext cx="3780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3" name="Chart 22">
            <a:extLst>
              <a:ext uri="{FF2B5EF4-FFF2-40B4-BE49-F238E27FC236}">
                <a16:creationId xmlns:a16="http://schemas.microsoft.com/office/drawing/2014/main" id="{2C1F54E6-29F8-4C70-B4AA-AAC49C1A042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2350754"/>
              </p:ext>
            </p:extLst>
          </p:nvPr>
        </p:nvGraphicFramePr>
        <p:xfrm>
          <a:off x="4053600" y="3930562"/>
          <a:ext cx="3780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5" name="Chart 24">
            <a:extLst>
              <a:ext uri="{FF2B5EF4-FFF2-40B4-BE49-F238E27FC236}">
                <a16:creationId xmlns:a16="http://schemas.microsoft.com/office/drawing/2014/main" id="{6BADAC90-B074-47F0-AC87-7DF4860A340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41555556"/>
              </p:ext>
            </p:extLst>
          </p:nvPr>
        </p:nvGraphicFramePr>
        <p:xfrm>
          <a:off x="7832562" y="3930562"/>
          <a:ext cx="3780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9" name="Chart 28">
            <a:extLst>
              <a:ext uri="{FF2B5EF4-FFF2-40B4-BE49-F238E27FC236}">
                <a16:creationId xmlns:a16="http://schemas.microsoft.com/office/drawing/2014/main" id="{1DFB1584-4171-4FAB-9756-8343B156A53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32364490"/>
              </p:ext>
            </p:extLst>
          </p:nvPr>
        </p:nvGraphicFramePr>
        <p:xfrm>
          <a:off x="4053600" y="1111329"/>
          <a:ext cx="3780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1" name="Chart 30">
            <a:extLst>
              <a:ext uri="{FF2B5EF4-FFF2-40B4-BE49-F238E27FC236}">
                <a16:creationId xmlns:a16="http://schemas.microsoft.com/office/drawing/2014/main" id="{949F4691-3706-46F6-ADEF-A7CC61E4D6A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89266038"/>
              </p:ext>
            </p:extLst>
          </p:nvPr>
        </p:nvGraphicFramePr>
        <p:xfrm>
          <a:off x="7832562" y="1111329"/>
          <a:ext cx="3780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3092728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260C6DB-9F8F-47D5-88F8-AF53CA776C9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366345"/>
            <a:ext cx="6559824" cy="4907455"/>
          </a:xfrm>
        </p:spPr>
        <p:txBody>
          <a:bodyPr/>
          <a:lstStyle/>
          <a:p>
            <a:pPr>
              <a:lnSpc>
                <a:spcPct val="130000"/>
              </a:lnSpc>
            </a:pPr>
            <a:r>
              <a:rPr lang="en-US" sz="1600" dirty="0"/>
              <a:t>Compounding effects:</a:t>
            </a:r>
          </a:p>
          <a:p>
            <a:pPr marL="228600" indent="-228600">
              <a:lnSpc>
                <a:spcPct val="130000"/>
              </a:lnSpc>
              <a:buAutoNum type="arabicParenR"/>
            </a:pPr>
            <a:r>
              <a:rPr lang="en-US" sz="1600" dirty="0"/>
              <a:t>Extraordinarily high spot price level</a:t>
            </a:r>
            <a:br>
              <a:rPr lang="en-US" sz="1600" dirty="0"/>
            </a:br>
            <a:r>
              <a:rPr lang="en-US" sz="1600" dirty="0"/>
              <a:t>Increases negative impact of short positions.</a:t>
            </a:r>
          </a:p>
          <a:p>
            <a:pPr marL="228600" indent="-228600">
              <a:lnSpc>
                <a:spcPct val="130000"/>
              </a:lnSpc>
              <a:buAutoNum type="arabicParenR"/>
            </a:pPr>
            <a:r>
              <a:rPr lang="en-US" sz="1600" dirty="0"/>
              <a:t>Change in structure of spot prices</a:t>
            </a:r>
            <a:br>
              <a:rPr lang="en-US" sz="1600" dirty="0"/>
            </a:br>
            <a:r>
              <a:rPr lang="en-US" sz="1600" dirty="0" err="1"/>
              <a:t>Prices</a:t>
            </a:r>
            <a:r>
              <a:rPr lang="en-US" sz="1600" dirty="0"/>
              <a:t> in Dec (where portfolio is naturally short) rose more than in Oct (where portfolio is naturally long). Even on quarter-level, positions no longer value-neutral.</a:t>
            </a:r>
          </a:p>
          <a:p>
            <a:pPr marL="228600" indent="-228600">
              <a:lnSpc>
                <a:spcPct val="130000"/>
              </a:lnSpc>
              <a:buAutoNum type="arabicParenR"/>
            </a:pPr>
            <a:r>
              <a:rPr lang="en-US" sz="1600" dirty="0"/>
              <a:t>Temperatures slightly below norm (esp. Nov)</a:t>
            </a:r>
            <a:br>
              <a:rPr lang="en-US" sz="1600" dirty="0"/>
            </a:br>
            <a:r>
              <a:rPr lang="en-US" sz="1600" dirty="0"/>
              <a:t>Causing additional short positions.</a:t>
            </a:r>
          </a:p>
          <a:p>
            <a:pPr marL="228600" indent="-228600">
              <a:lnSpc>
                <a:spcPct val="130000"/>
              </a:lnSpc>
              <a:buAutoNum type="arabicParenR"/>
            </a:pPr>
            <a:r>
              <a:rPr lang="en-US" sz="1600" dirty="0"/>
              <a:t>Lower churn than expected (esp. P2H)</a:t>
            </a:r>
            <a:br>
              <a:rPr lang="en-US" sz="1600" dirty="0"/>
            </a:br>
            <a:r>
              <a:rPr lang="en-US" sz="1600" dirty="0"/>
              <a:t>Causing additional short positions.</a:t>
            </a:r>
            <a:br>
              <a:rPr lang="en-US" sz="1600" dirty="0"/>
            </a:br>
            <a:r>
              <a:rPr lang="en-US" sz="1600" dirty="0"/>
              <a:t>The missing volume caused by lower churn was not procured until just before the start of the month, when prices had already risen. 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EC105DC-3392-45AF-8236-332397028E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Temperature-dependent</a:t>
            </a:r>
            <a:r>
              <a:rPr lang="de-DE" dirty="0"/>
              <a:t> B2C </a:t>
            </a:r>
            <a:r>
              <a:rPr lang="de-DE" dirty="0" err="1"/>
              <a:t>portfolios</a:t>
            </a:r>
            <a:r>
              <a:rPr lang="de-DE" dirty="0"/>
              <a:t> in 2021-Q4 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12FF69-867C-477B-B6B5-BD27B071BBE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3</a:t>
            </a:fld>
            <a:endParaRPr lang="de-DE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C2AAEB69-5AB6-4B8D-8A1F-DCA6A097D53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b="1" dirty="0">
                <a:solidFill>
                  <a:schemeClr val="accent1"/>
                </a:solidFill>
              </a:rPr>
              <a:t>Compounding effects</a:t>
            </a:r>
          </a:p>
        </p:txBody>
      </p:sp>
    </p:spTree>
    <p:extLst>
      <p:ext uri="{BB962C8B-B14F-4D97-AF65-F5344CB8AC3E}">
        <p14:creationId xmlns:p14="http://schemas.microsoft.com/office/powerpoint/2010/main" val="1821458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DBD9831-4CEB-4F0F-9B50-05925C5FBF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pot pric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EDE2768-8D81-40F2-9225-694FA4E9821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CD03E2E4-D103-41AD-8947-942DF7A4986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8138" y="879896"/>
            <a:ext cx="9213850" cy="253806"/>
          </a:xfrm>
        </p:spPr>
        <p:txBody>
          <a:bodyPr/>
          <a:lstStyle/>
          <a:p>
            <a:r>
              <a:rPr lang="en-US" b="1" dirty="0">
                <a:solidFill>
                  <a:schemeClr val="accent1"/>
                </a:solidFill>
              </a:rPr>
              <a:t>Spot price development (power) </a:t>
            </a:r>
          </a:p>
          <a:p>
            <a:r>
              <a:rPr lang="en-US" b="1" dirty="0">
                <a:solidFill>
                  <a:schemeClr val="accent1"/>
                </a:solidFill>
              </a:rPr>
              <a:t>since FSP 2020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80D3169-CFD5-4787-AA5F-4B9B0933B3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34417" y="757002"/>
            <a:ext cx="8582945" cy="5836402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692B1F7E-F3C5-43B5-A0B6-BE2677F3206B}"/>
              </a:ext>
            </a:extLst>
          </p:cNvPr>
          <p:cNvSpPr txBox="1"/>
          <p:nvPr/>
        </p:nvSpPr>
        <p:spPr>
          <a:xfrm>
            <a:off x="4675644" y="4033345"/>
            <a:ext cx="1304743" cy="508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</a:pPr>
            <a:r>
              <a:rPr lang="en-US" sz="1200" dirty="0">
                <a:solidFill>
                  <a:srgbClr val="FF0000"/>
                </a:solidFill>
              </a:rPr>
              <a:t>Dec. 2020:</a:t>
            </a:r>
          </a:p>
          <a:p>
            <a:pPr algn="l">
              <a:spcBef>
                <a:spcPts val="300"/>
              </a:spcBef>
              <a:spcAft>
                <a:spcPts val="300"/>
              </a:spcAft>
            </a:pPr>
            <a:r>
              <a:rPr lang="en-US" sz="1200" dirty="0">
                <a:solidFill>
                  <a:srgbClr val="FF0000"/>
                </a:solidFill>
              </a:rPr>
              <a:t>44 Eur/MWh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FF1B472-6791-49DC-B9D3-134D7F432850}"/>
              </a:ext>
            </a:extLst>
          </p:cNvPr>
          <p:cNvSpPr txBox="1"/>
          <p:nvPr/>
        </p:nvSpPr>
        <p:spPr>
          <a:xfrm>
            <a:off x="10272403" y="1516118"/>
            <a:ext cx="1304743" cy="508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</a:pPr>
            <a:r>
              <a:rPr lang="en-US" sz="1200" dirty="0">
                <a:solidFill>
                  <a:srgbClr val="FF0000"/>
                </a:solidFill>
              </a:rPr>
              <a:t>Dec. 2021:</a:t>
            </a:r>
          </a:p>
          <a:p>
            <a:pPr algn="l">
              <a:spcBef>
                <a:spcPts val="300"/>
              </a:spcBef>
              <a:spcAft>
                <a:spcPts val="300"/>
              </a:spcAft>
            </a:pPr>
            <a:r>
              <a:rPr lang="en-US" sz="1200" dirty="0">
                <a:solidFill>
                  <a:srgbClr val="FF0000"/>
                </a:solidFill>
              </a:rPr>
              <a:t>221 Eur/MWh</a:t>
            </a:r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4ED7BD01-6187-432C-B7C0-E443BB83B29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2417379"/>
            <a:ext cx="2639465" cy="3856421"/>
          </a:xfrm>
        </p:spPr>
        <p:txBody>
          <a:bodyPr/>
          <a:lstStyle/>
          <a:p>
            <a:pPr marL="285750" indent="-28575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Very high </a:t>
            </a:r>
            <a:r>
              <a:rPr lang="en-US" sz="1600" dirty="0">
                <a:sym typeface="Wingdings" panose="05000000000000000000" pitchFamily="2" charset="2"/>
              </a:rPr>
              <a:t> 400% increase between Dec 2020 and Dec 2021</a:t>
            </a:r>
          </a:p>
          <a:p>
            <a:pPr>
              <a:lnSpc>
                <a:spcPct val="130000"/>
              </a:lnSpc>
            </a:pPr>
            <a:endParaRPr lang="en-US" sz="1600" dirty="0"/>
          </a:p>
          <a:p>
            <a:pPr marL="285750" indent="-28575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Change in structure </a:t>
            </a:r>
            <a:r>
              <a:rPr lang="en-US" sz="1600" dirty="0">
                <a:sym typeface="Wingdings" panose="05000000000000000000" pitchFamily="2" charset="2"/>
              </a:rPr>
              <a:t> Dec expensive compared to Oct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872289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13F8F9A-CAC6-4C84-865B-80CE7419DA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Temperatures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435DC76-B92A-41A0-BBC4-8A83FC67319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5</a:t>
            </a:fld>
            <a:endParaRPr lang="de-DE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52BA679-15C5-4D62-AE13-FA792CC308D3}"/>
              </a:ext>
            </a:extLst>
          </p:cNvPr>
          <p:cNvSpPr txBox="1"/>
          <p:nvPr/>
        </p:nvSpPr>
        <p:spPr>
          <a:xfrm>
            <a:off x="338138" y="1098209"/>
            <a:ext cx="10355529" cy="692369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</a:pPr>
            <a:r>
              <a:rPr lang="en-GB" sz="1600" dirty="0"/>
              <a:t>In November, the average temperature was 0.5°C below norm.</a:t>
            </a:r>
          </a:p>
          <a:p>
            <a:pPr>
              <a:lnSpc>
                <a:spcPct val="110000"/>
              </a:lnSpc>
              <a:spcBef>
                <a:spcPts val="600"/>
              </a:spcBef>
            </a:pPr>
            <a:r>
              <a:rPr lang="en-GB" sz="1600" dirty="0"/>
              <a:t>In December they were almost exactly on norm, but with large swings esp. towards the end of the year.</a:t>
            </a:r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800DB940-D785-4F58-8133-8817D101DBF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03808311"/>
              </p:ext>
            </p:extLst>
          </p:nvPr>
        </p:nvGraphicFramePr>
        <p:xfrm>
          <a:off x="1149531" y="2327275"/>
          <a:ext cx="9386639" cy="41624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2" name="Subtitle 11">
            <a:extLst>
              <a:ext uri="{FF2B5EF4-FFF2-40B4-BE49-F238E27FC236}">
                <a16:creationId xmlns:a16="http://schemas.microsoft.com/office/drawing/2014/main" id="{F66A9551-5A4E-465A-93C6-5958741F43F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b="1" dirty="0">
                <a:solidFill>
                  <a:schemeClr val="accent1"/>
                </a:solidFill>
              </a:rPr>
              <a:t>Actual vs Norm</a:t>
            </a:r>
          </a:p>
        </p:txBody>
      </p:sp>
    </p:spTree>
    <p:extLst>
      <p:ext uri="{BB962C8B-B14F-4D97-AF65-F5344CB8AC3E}">
        <p14:creationId xmlns:p14="http://schemas.microsoft.com/office/powerpoint/2010/main" val="2024248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13F8F9A-CAC6-4C84-865B-80CE7419DA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Weather</a:t>
            </a:r>
            <a:r>
              <a:rPr lang="de-DE" dirty="0"/>
              <a:t> </a:t>
            </a:r>
            <a:r>
              <a:rPr lang="de-DE" dirty="0" err="1"/>
              <a:t>influence</a:t>
            </a:r>
            <a:r>
              <a:rPr lang="de-DE" dirty="0"/>
              <a:t> on </a:t>
            </a:r>
            <a:r>
              <a:rPr lang="de-DE" dirty="0" err="1"/>
              <a:t>portfolio</a:t>
            </a:r>
            <a:r>
              <a:rPr lang="de-DE" dirty="0"/>
              <a:t> </a:t>
            </a:r>
            <a:r>
              <a:rPr lang="de-DE" dirty="0" err="1"/>
              <a:t>results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435DC76-B92A-41A0-BBC4-8A83FC67319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48534A9D-CD2A-438E-84A4-05F8C43E930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8138" y="690712"/>
            <a:ext cx="9424698" cy="253806"/>
          </a:xfrm>
        </p:spPr>
        <p:txBody>
          <a:bodyPr/>
          <a:lstStyle/>
          <a:p>
            <a:r>
              <a:rPr lang="en-US" b="1" dirty="0">
                <a:solidFill>
                  <a:schemeClr val="accent1"/>
                </a:solidFill>
              </a:rPr>
              <a:t>High prices combined with cold and fluctuating temperatures, and underhedged portfolio.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52BA679-15C5-4D62-AE13-FA792CC308D3}"/>
              </a:ext>
            </a:extLst>
          </p:cNvPr>
          <p:cNvSpPr txBox="1"/>
          <p:nvPr/>
        </p:nvSpPr>
        <p:spPr>
          <a:xfrm>
            <a:off x="338139" y="1098209"/>
            <a:ext cx="6149747" cy="4468018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</a:pPr>
            <a:r>
              <a:rPr lang="en-GB" sz="1400" dirty="0"/>
              <a:t>Two effects of weather risks:</a:t>
            </a:r>
          </a:p>
          <a:p>
            <a:pPr>
              <a:lnSpc>
                <a:spcPct val="110000"/>
              </a:lnSpc>
              <a:spcBef>
                <a:spcPts val="600"/>
              </a:spcBef>
            </a:pPr>
            <a:endParaRPr lang="en-GB" sz="800" dirty="0"/>
          </a:p>
          <a:p>
            <a:pPr>
              <a:lnSpc>
                <a:spcPct val="110000"/>
              </a:lnSpc>
              <a:spcBef>
                <a:spcPts val="600"/>
              </a:spcBef>
            </a:pPr>
            <a:r>
              <a:rPr lang="en-GB" sz="1400" b="1" dirty="0"/>
              <a:t>Effect of average temperature</a:t>
            </a:r>
          </a:p>
          <a:p>
            <a:pPr>
              <a:lnSpc>
                <a:spcPct val="110000"/>
              </a:lnSpc>
              <a:spcBef>
                <a:spcPts val="600"/>
              </a:spcBef>
            </a:pPr>
            <a:r>
              <a:rPr lang="en-GB" sz="1400" dirty="0"/>
              <a:t>If </a:t>
            </a:r>
            <a:r>
              <a:rPr lang="en-GB" sz="1400" i="1" dirty="0"/>
              <a:t>actual </a:t>
            </a:r>
            <a:r>
              <a:rPr lang="en-GB" sz="1400" dirty="0"/>
              <a:t>average temperature deviates from </a:t>
            </a:r>
            <a:r>
              <a:rPr lang="en-GB" sz="1400" i="1" dirty="0"/>
              <a:t>expected </a:t>
            </a:r>
            <a:r>
              <a:rPr lang="en-GB" sz="1400" dirty="0"/>
              <a:t>average temperature, spot trade is necessary.</a:t>
            </a:r>
          </a:p>
          <a:p>
            <a:pPr>
              <a:lnSpc>
                <a:spcPct val="110000"/>
              </a:lnSpc>
              <a:spcBef>
                <a:spcPts val="600"/>
              </a:spcBef>
            </a:pPr>
            <a:r>
              <a:rPr lang="en-GB" sz="1400" dirty="0"/>
              <a:t>In 2021Q4: larger-than-usual effect, due to</a:t>
            </a:r>
          </a:p>
          <a:p>
            <a:pPr marL="285750" indent="-285750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400" dirty="0"/>
              <a:t>Extremely high spot prices; and</a:t>
            </a:r>
          </a:p>
          <a:p>
            <a:pPr marL="285750" indent="-285750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400" dirty="0"/>
              <a:t>Short position (because of (a) cold weather (e</a:t>
            </a:r>
            <a:r>
              <a:rPr lang="en-GB" sz="1400" dirty="0">
                <a:sym typeface="Wingdings" panose="05000000000000000000" pitchFamily="2" charset="2"/>
              </a:rPr>
              <a:t>sp. Nov.) and (b</a:t>
            </a:r>
            <a:r>
              <a:rPr lang="en-GB" sz="1400" dirty="0"/>
              <a:t>) insufficient hedging (esp. Dec.))</a:t>
            </a:r>
          </a:p>
          <a:p>
            <a:pPr marL="285750" indent="-285750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GB" sz="1000" dirty="0"/>
          </a:p>
          <a:p>
            <a:pPr>
              <a:lnSpc>
                <a:spcPct val="110000"/>
              </a:lnSpc>
              <a:spcBef>
                <a:spcPts val="600"/>
              </a:spcBef>
            </a:pPr>
            <a:r>
              <a:rPr lang="en-GB" sz="1400" b="1" dirty="0"/>
              <a:t>Effect of temperature fluctuations</a:t>
            </a:r>
          </a:p>
          <a:p>
            <a:pPr>
              <a:lnSpc>
                <a:spcPct val="110000"/>
              </a:lnSpc>
              <a:spcBef>
                <a:spcPts val="600"/>
              </a:spcBef>
            </a:pPr>
            <a:r>
              <a:rPr lang="en-GB" sz="1400" dirty="0"/>
              <a:t>In any month, temperatures fluctuate and cause spot trading at a loss (due to buying at above-</a:t>
            </a:r>
            <a:r>
              <a:rPr lang="en-GB" sz="1400" dirty="0" err="1"/>
              <a:t>avg</a:t>
            </a:r>
            <a:r>
              <a:rPr lang="en-GB" sz="1400" dirty="0"/>
              <a:t> prices and selling at below-</a:t>
            </a:r>
            <a:r>
              <a:rPr lang="en-GB" sz="1400" dirty="0" err="1"/>
              <a:t>avg</a:t>
            </a:r>
            <a:r>
              <a:rPr lang="en-GB" sz="1400" dirty="0"/>
              <a:t> prices; “</a:t>
            </a:r>
            <a:r>
              <a:rPr lang="en-GB" sz="1400" dirty="0" err="1"/>
              <a:t>covar</a:t>
            </a:r>
            <a:r>
              <a:rPr lang="en-GB" sz="1400" dirty="0"/>
              <a:t>-effect”); see graph on right.</a:t>
            </a:r>
          </a:p>
          <a:p>
            <a:pPr>
              <a:lnSpc>
                <a:spcPct val="110000"/>
              </a:lnSpc>
              <a:spcBef>
                <a:spcPts val="600"/>
              </a:spcBef>
            </a:pPr>
            <a:r>
              <a:rPr lang="en-GB" sz="1400" dirty="0"/>
              <a:t>In 2021Q4: larger-than-usual effect, due to large temperature swings (esp. Dec.)</a:t>
            </a:r>
          </a:p>
        </p:txBody>
      </p:sp>
      <p:pic>
        <p:nvPicPr>
          <p:cNvPr id="2050" name="Picture 5">
            <a:extLst>
              <a:ext uri="{FF2B5EF4-FFF2-40B4-BE49-F238E27FC236}">
                <a16:creationId xmlns:a16="http://schemas.microsoft.com/office/drawing/2014/main" id="{EDF53B64-735E-40BC-9C67-36F37949E1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3038" y="2553957"/>
            <a:ext cx="4762500" cy="308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DEB9133F-FA2C-4962-B7C4-583D6BBB0E1C}"/>
              </a:ext>
            </a:extLst>
          </p:cNvPr>
          <p:cNvSpPr txBox="1"/>
          <p:nvPr/>
        </p:nvSpPr>
        <p:spPr>
          <a:xfrm>
            <a:off x="7884120" y="5791200"/>
            <a:ext cx="3757431" cy="25254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</a:pPr>
            <a:r>
              <a:rPr lang="en-US" sz="1050" dirty="0"/>
              <a:t>ΔT [</a:t>
            </a:r>
            <a:r>
              <a:rPr lang="en-US" sz="1050" dirty="0" err="1"/>
              <a:t>degC</a:t>
            </a:r>
            <a:r>
              <a:rPr lang="en-US" sz="1050" dirty="0"/>
              <a:t>] = daily temperature vs monthly averag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641B4D8-ECC9-4029-8F08-2A56FC2F3F96}"/>
              </a:ext>
            </a:extLst>
          </p:cNvPr>
          <p:cNvSpPr txBox="1"/>
          <p:nvPr/>
        </p:nvSpPr>
        <p:spPr>
          <a:xfrm rot="16200000">
            <a:off x="5123507" y="3704311"/>
            <a:ext cx="3757431" cy="252549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</a:pPr>
            <a:r>
              <a:rPr lang="en-US" sz="1050" dirty="0"/>
              <a:t>ΔP [Eur/MWh] = spot price vs before-month-QHPFC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199DC84-88AF-4A2D-8D23-7C8010BCD755}"/>
              </a:ext>
            </a:extLst>
          </p:cNvPr>
          <p:cNvSpPr txBox="1"/>
          <p:nvPr/>
        </p:nvSpPr>
        <p:spPr>
          <a:xfrm>
            <a:off x="7673272" y="2099562"/>
            <a:ext cx="3757431" cy="252549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</a:pPr>
            <a:r>
              <a:rPr lang="en-US" sz="1600" dirty="0"/>
              <a:t>Spot price development in Dec 2021</a:t>
            </a:r>
          </a:p>
        </p:txBody>
      </p:sp>
    </p:spTree>
    <p:extLst>
      <p:ext uri="{BB962C8B-B14F-4D97-AF65-F5344CB8AC3E}">
        <p14:creationId xmlns:p14="http://schemas.microsoft.com/office/powerpoint/2010/main" val="1625540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5D460E4-12DD-4611-B698-D3A1640036F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60370" cy="4681537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0A7DE60-790F-4A02-B1E0-2A97CDCA8A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fluence of temperature-driven volume deviation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AE5973E-1072-497F-AB68-9047370E5F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E3791829-477D-4536-B778-FB8EE344703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Exemplary calculations for P2H portfolio in 2021 Q4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A1B3B4BC-19DC-404B-A0DC-E0E8B6B2FB23}"/>
              </a:ext>
            </a:extLst>
          </p:cNvPr>
          <p:cNvSpPr/>
          <p:nvPr/>
        </p:nvSpPr>
        <p:spPr bwMode="gray">
          <a:xfrm>
            <a:off x="5782733" y="3505200"/>
            <a:ext cx="660400" cy="330200"/>
          </a:xfrm>
          <a:prstGeom prst="ellipse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dirty="0" err="1">
              <a:solidFill>
                <a:sysClr val="windowText" lastClr="000000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FCBBEB7-1700-4E8D-BDDB-73BDA9708B9F}"/>
              </a:ext>
            </a:extLst>
          </p:cNvPr>
          <p:cNvSpPr txBox="1"/>
          <p:nvPr/>
        </p:nvSpPr>
        <p:spPr>
          <a:xfrm>
            <a:off x="5274733" y="3581400"/>
            <a:ext cx="821267" cy="508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</a:pPr>
            <a:r>
              <a:rPr lang="en-US" sz="1200" dirty="0">
                <a:solidFill>
                  <a:srgbClr val="FF0000"/>
                </a:solidFill>
              </a:rPr>
              <a:t>Actual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DFA8653-9D6C-455F-9346-BD6D829FD74F}"/>
              </a:ext>
            </a:extLst>
          </p:cNvPr>
          <p:cNvSpPr txBox="1"/>
          <p:nvPr/>
        </p:nvSpPr>
        <p:spPr>
          <a:xfrm>
            <a:off x="7579765" y="5883501"/>
            <a:ext cx="3929061" cy="31303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</a:pPr>
            <a:r>
              <a:rPr lang="en-GB" sz="1400" dirty="0"/>
              <a:t>(Actual sourcing result 2021 Q4: -7.03 </a:t>
            </a:r>
            <a:r>
              <a:rPr lang="en-GB" sz="1400" dirty="0" err="1"/>
              <a:t>MEur</a:t>
            </a:r>
            <a:r>
              <a:rPr lang="en-GB" sz="1400" dirty="0"/>
              <a:t>) 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5D29086D-7670-45E5-BC41-42CE321564E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2240377"/>
              </p:ext>
            </p:extLst>
          </p:nvPr>
        </p:nvGraphicFramePr>
        <p:xfrm>
          <a:off x="524932" y="1724245"/>
          <a:ext cx="10983894" cy="3541494"/>
        </p:xfrm>
        <a:graphic>
          <a:graphicData uri="http://schemas.openxmlformats.org/drawingml/2006/table">
            <a:tbl>
              <a:tblPr/>
              <a:tblGrid>
                <a:gridCol w="1030599">
                  <a:extLst>
                    <a:ext uri="{9D8B030D-6E8A-4147-A177-3AD203B41FA5}">
                      <a16:colId xmlns:a16="http://schemas.microsoft.com/office/drawing/2014/main" val="2447484971"/>
                    </a:ext>
                  </a:extLst>
                </a:gridCol>
                <a:gridCol w="854037">
                  <a:extLst>
                    <a:ext uri="{9D8B030D-6E8A-4147-A177-3AD203B41FA5}">
                      <a16:colId xmlns:a16="http://schemas.microsoft.com/office/drawing/2014/main" val="377659457"/>
                    </a:ext>
                  </a:extLst>
                </a:gridCol>
                <a:gridCol w="1516543">
                  <a:extLst>
                    <a:ext uri="{9D8B030D-6E8A-4147-A177-3AD203B41FA5}">
                      <a16:colId xmlns:a16="http://schemas.microsoft.com/office/drawing/2014/main" val="2757220566"/>
                    </a:ext>
                  </a:extLst>
                </a:gridCol>
                <a:gridCol w="1516543">
                  <a:extLst>
                    <a:ext uri="{9D8B030D-6E8A-4147-A177-3AD203B41FA5}">
                      <a16:colId xmlns:a16="http://schemas.microsoft.com/office/drawing/2014/main" val="2335300907"/>
                    </a:ext>
                  </a:extLst>
                </a:gridCol>
                <a:gridCol w="1516543">
                  <a:extLst>
                    <a:ext uri="{9D8B030D-6E8A-4147-A177-3AD203B41FA5}">
                      <a16:colId xmlns:a16="http://schemas.microsoft.com/office/drawing/2014/main" val="367484790"/>
                    </a:ext>
                  </a:extLst>
                </a:gridCol>
                <a:gridCol w="1516543">
                  <a:extLst>
                    <a:ext uri="{9D8B030D-6E8A-4147-A177-3AD203B41FA5}">
                      <a16:colId xmlns:a16="http://schemas.microsoft.com/office/drawing/2014/main" val="2736049309"/>
                    </a:ext>
                  </a:extLst>
                </a:gridCol>
                <a:gridCol w="1516543">
                  <a:extLst>
                    <a:ext uri="{9D8B030D-6E8A-4147-A177-3AD203B41FA5}">
                      <a16:colId xmlns:a16="http://schemas.microsoft.com/office/drawing/2014/main" val="3609942518"/>
                    </a:ext>
                  </a:extLst>
                </a:gridCol>
                <a:gridCol w="1516543">
                  <a:extLst>
                    <a:ext uri="{9D8B030D-6E8A-4147-A177-3AD203B41FA5}">
                      <a16:colId xmlns:a16="http://schemas.microsoft.com/office/drawing/2014/main" val="1050415821"/>
                    </a:ext>
                  </a:extLst>
                </a:gridCol>
              </a:tblGrid>
              <a:tr h="368098">
                <a:tc>
                  <a:txBody>
                    <a:bodyPr/>
                    <a:lstStyle/>
                    <a:p>
                      <a:pPr algn="l" fontAlgn="t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288" marR="9288" marT="928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288" marR="9288" marT="928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5">
                  <a:txBody>
                    <a:bodyPr/>
                    <a:lstStyle/>
                    <a:p>
                      <a:pPr algn="l" fontAlgn="t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urcing result in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ur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under various price and temperature scenarios</a:t>
                      </a:r>
                    </a:p>
                  </a:txBody>
                  <a:tcPr marL="9288" marR="9288" marT="928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288" marR="9288" marT="928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6228258"/>
                  </a:ext>
                </a:extLst>
              </a:tr>
              <a:tr h="368098">
                <a:tc>
                  <a:txBody>
                    <a:bodyPr/>
                    <a:lstStyle/>
                    <a:p>
                      <a:pPr algn="l" fontAlgn="t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288" marR="9288" marT="928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288" marR="9288" marT="9288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ot price</a:t>
                      </a:r>
                    </a:p>
                  </a:txBody>
                  <a:tcPr marL="9288" marR="9288" marT="9288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288" marR="9288" marT="9288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288" marR="9288" marT="9288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288" marR="9288" marT="9288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288" marR="9288" marT="9288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288" marR="9288" marT="9288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8996086"/>
                  </a:ext>
                </a:extLst>
              </a:tr>
              <a:tr h="408926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mperature</a:t>
                      </a:r>
                    </a:p>
                  </a:txBody>
                  <a:tcPr marL="9288" marR="9288" marT="9288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fftake</a:t>
                      </a:r>
                    </a:p>
                  </a:txBody>
                  <a:tcPr marL="9288" marR="9288" marT="9288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fontAlgn="t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vs Forward curve FSP2020)</a:t>
                      </a:r>
                    </a:p>
                  </a:txBody>
                  <a:tcPr marL="9288" marR="9288" marT="9288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288" marR="9288" marT="928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288" marR="9288" marT="928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288" marR="9288" marT="928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288" marR="9288" marT="9288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6123684"/>
                  </a:ext>
                </a:extLst>
              </a:tr>
              <a:tr h="368098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nge</a:t>
                      </a:r>
                    </a:p>
                  </a:txBody>
                  <a:tcPr marL="9288" marR="9288" marT="9288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nge</a:t>
                      </a:r>
                    </a:p>
                  </a:txBody>
                  <a:tcPr marL="9288" marR="9288" marT="9288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0%</a:t>
                      </a:r>
                    </a:p>
                  </a:txBody>
                  <a:tcPr marL="9288" marR="9288" marT="9288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25%</a:t>
                      </a:r>
                    </a:p>
                  </a:txBody>
                  <a:tcPr marL="9288" marR="9288" marT="9288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50%</a:t>
                      </a:r>
                    </a:p>
                  </a:txBody>
                  <a:tcPr marL="9288" marR="9288" marT="9288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100%</a:t>
                      </a:r>
                    </a:p>
                  </a:txBody>
                  <a:tcPr marL="9288" marR="9288" marT="9288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200%</a:t>
                      </a:r>
                    </a:p>
                  </a:txBody>
                  <a:tcPr marL="9288" marR="9288" marT="9288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400%</a:t>
                      </a:r>
                    </a:p>
                  </a:txBody>
                  <a:tcPr marL="9288" marR="9288" marT="9288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5158498"/>
                  </a:ext>
                </a:extLst>
              </a:tr>
              <a:tr h="368098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vs norm)</a:t>
                      </a:r>
                    </a:p>
                  </a:txBody>
                  <a:tcPr marL="9288" marR="9288" marT="9288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288" marR="9288" marT="9288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=44 Eur/MWh</a:t>
                      </a:r>
                    </a:p>
                  </a:txBody>
                  <a:tcPr marL="9288" marR="9288" marT="9288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=54 Eur/MWh</a:t>
                      </a:r>
                    </a:p>
                  </a:txBody>
                  <a:tcPr marL="9288" marR="9288" marT="928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=65 Eur/MWh</a:t>
                      </a:r>
                    </a:p>
                  </a:txBody>
                  <a:tcPr marL="9288" marR="9288" marT="928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=87 Eur/MWh</a:t>
                      </a:r>
                    </a:p>
                  </a:txBody>
                  <a:tcPr marL="9288" marR="9288" marT="928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=131 Eur/MWh</a:t>
                      </a:r>
                    </a:p>
                  </a:txBody>
                  <a:tcPr marL="9288" marR="9288" marT="928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=218 Eur/MWh</a:t>
                      </a:r>
                    </a:p>
                  </a:txBody>
                  <a:tcPr marL="9288" marR="9288" marT="9288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4976578"/>
                  </a:ext>
                </a:extLst>
              </a:tr>
              <a:tr h="415044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 deg C</a:t>
                      </a:r>
                    </a:p>
                  </a:txBody>
                  <a:tcPr marL="9288" marR="9288" marT="9288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0 GWh</a:t>
                      </a:r>
                    </a:p>
                  </a:txBody>
                  <a:tcPr marL="9288" marR="9288" marT="9288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7</a:t>
                      </a:r>
                    </a:p>
                  </a:txBody>
                  <a:tcPr marL="9288" marR="9288" marT="9288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.0</a:t>
                      </a:r>
                    </a:p>
                  </a:txBody>
                  <a:tcPr marL="9288" marR="9288" marT="9288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.3</a:t>
                      </a:r>
                    </a:p>
                  </a:txBody>
                  <a:tcPr marL="9288" marR="9288" marT="9288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.8</a:t>
                      </a:r>
                    </a:p>
                  </a:txBody>
                  <a:tcPr marL="9288" marR="9288" marT="9288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2.9</a:t>
                      </a:r>
                    </a:p>
                  </a:txBody>
                  <a:tcPr marL="9288" marR="9288" marT="9288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5.1</a:t>
                      </a:r>
                    </a:p>
                  </a:txBody>
                  <a:tcPr marL="9288" marR="9288" marT="9288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4855948"/>
                  </a:ext>
                </a:extLst>
              </a:tr>
              <a:tr h="415044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 deg C</a:t>
                      </a:r>
                    </a:p>
                  </a:txBody>
                  <a:tcPr marL="9288" marR="9288" marT="9288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40 GWh</a:t>
                      </a:r>
                    </a:p>
                  </a:txBody>
                  <a:tcPr marL="9288" marR="9288" marT="9288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5</a:t>
                      </a:r>
                    </a:p>
                  </a:txBody>
                  <a:tcPr marL="9288" marR="9288" marT="9288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.2</a:t>
                      </a:r>
                    </a:p>
                  </a:txBody>
                  <a:tcPr marL="9288" marR="9288" marT="928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.9</a:t>
                      </a:r>
                    </a:p>
                  </a:txBody>
                  <a:tcPr marL="9288" marR="9288" marT="928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3.2</a:t>
                      </a:r>
                    </a:p>
                  </a:txBody>
                  <a:tcPr marL="9288" marR="9288" marT="928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5.8</a:t>
                      </a:r>
                    </a:p>
                  </a:txBody>
                  <a:tcPr marL="9288" marR="9288" marT="928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1.1</a:t>
                      </a:r>
                    </a:p>
                  </a:txBody>
                  <a:tcPr marL="9288" marR="9288" marT="9288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1903794"/>
                  </a:ext>
                </a:extLst>
              </a:tr>
              <a:tr h="415044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2 deg C</a:t>
                      </a:r>
                    </a:p>
                  </a:txBody>
                  <a:tcPr marL="9288" marR="9288" marT="9288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80 GWh</a:t>
                      </a:r>
                    </a:p>
                  </a:txBody>
                  <a:tcPr marL="9288" marR="9288" marT="9288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4</a:t>
                      </a:r>
                    </a:p>
                  </a:txBody>
                  <a:tcPr marL="9288" marR="9288" marT="9288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.4</a:t>
                      </a:r>
                    </a:p>
                  </a:txBody>
                  <a:tcPr marL="9288" marR="9288" marT="928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2.5</a:t>
                      </a:r>
                    </a:p>
                  </a:txBody>
                  <a:tcPr marL="9288" marR="9288" marT="928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4.6</a:t>
                      </a:r>
                    </a:p>
                  </a:txBody>
                  <a:tcPr marL="9288" marR="9288" marT="928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8.7</a:t>
                      </a:r>
                    </a:p>
                  </a:txBody>
                  <a:tcPr marL="9288" marR="9288" marT="928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7.1</a:t>
                      </a:r>
                    </a:p>
                  </a:txBody>
                  <a:tcPr marL="9288" marR="9288" marT="9288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6449257"/>
                  </a:ext>
                </a:extLst>
              </a:tr>
              <a:tr h="415044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3 deg C</a:t>
                      </a:r>
                    </a:p>
                  </a:txBody>
                  <a:tcPr marL="9288" marR="9288" marT="9288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120 GWh</a:t>
                      </a:r>
                    </a:p>
                  </a:txBody>
                  <a:tcPr marL="9288" marR="9288" marT="9288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2</a:t>
                      </a:r>
                    </a:p>
                  </a:txBody>
                  <a:tcPr marL="9288" marR="9288" marT="9288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.7</a:t>
                      </a:r>
                    </a:p>
                  </a:txBody>
                  <a:tcPr marL="9288" marR="9288" marT="928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3.1</a:t>
                      </a:r>
                    </a:p>
                  </a:txBody>
                  <a:tcPr marL="9288" marR="9288" marT="928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6.0</a:t>
                      </a:r>
                    </a:p>
                  </a:txBody>
                  <a:tcPr marL="9288" marR="9288" marT="928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1.7</a:t>
                      </a:r>
                    </a:p>
                  </a:txBody>
                  <a:tcPr marL="9288" marR="9288" marT="928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23.1</a:t>
                      </a:r>
                    </a:p>
                  </a:txBody>
                  <a:tcPr marL="9288" marR="9288" marT="9288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20744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36519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_G1w0KT4iO0hHm9COje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_G1w0KT4iO0hHm9COjeQ"/>
</p:tagLst>
</file>

<file path=ppt/theme/theme1.xml><?xml version="1.0" encoding="utf-8"?>
<a:theme xmlns:a="http://schemas.openxmlformats.org/drawingml/2006/main" name="Smoke_LichtBlick_Template_2020">
  <a:themeElements>
    <a:clrScheme name="Smoke_LichtBlick">
      <a:dk1>
        <a:sysClr val="windowText" lastClr="000000"/>
      </a:dk1>
      <a:lt1>
        <a:sysClr val="window" lastClr="FFFFFF"/>
      </a:lt1>
      <a:dk2>
        <a:srgbClr val="FCBC67"/>
      </a:dk2>
      <a:lt2>
        <a:srgbClr val="767676"/>
      </a:lt2>
      <a:accent1>
        <a:srgbClr val="465B68"/>
      </a:accent1>
      <a:accent2>
        <a:srgbClr val="313C49"/>
      </a:accent2>
      <a:accent3>
        <a:srgbClr val="7390A1"/>
      </a:accent3>
      <a:accent4>
        <a:srgbClr val="F1F4F6"/>
      </a:accent4>
      <a:accent5>
        <a:srgbClr val="E6E6E6"/>
      </a:accent5>
      <a:accent6>
        <a:srgbClr val="B2B2B2"/>
      </a:accent6>
      <a:hlink>
        <a:srgbClr val="E6E6E6"/>
      </a:hlink>
      <a:folHlink>
        <a:srgbClr val="767676"/>
      </a:folHlink>
    </a:clrScheme>
    <a:fontScheme name="LichtBlick">
      <a:majorFont>
        <a:latin typeface="Officina Sans ITC Pro Medium"/>
        <a:ea typeface=""/>
        <a:cs typeface=""/>
      </a:majorFont>
      <a:minorFont>
        <a:latin typeface="Inte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accent5"/>
        </a:solidFill>
        <a:ln w="3175">
          <a:noFill/>
        </a:ln>
      </a:spPr>
      <a:bodyPr lIns="72000" tIns="72000" rIns="72000" bIns="72000" rtlCol="0" anchor="ctr"/>
      <a:lstStyle>
        <a:defPPr algn="ctr">
          <a:spcBef>
            <a:spcPts val="300"/>
          </a:spcBef>
          <a:spcAft>
            <a:spcPts val="300"/>
          </a:spcAft>
          <a:defRPr sz="1200" dirty="0" err="1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9050" cap="rnd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defRPr sz="12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LichtBlick_Template_05_EXP" id="{0F7EAF39-9DCE-4BDF-A5F4-5F2553C98C4F}" vid="{044C27C9-68D0-4512-BF2A-9E6368743E68}"/>
    </a:ext>
  </a:extLst>
</a:theme>
</file>

<file path=ppt/theme/theme2.xml><?xml version="1.0" encoding="utf-8"?>
<a:theme xmlns:a="http://schemas.openxmlformats.org/drawingml/2006/main" name="Berry_LichtBlick_Template_2020">
  <a:themeElements>
    <a:clrScheme name="Custom 1">
      <a:dk1>
        <a:sysClr val="windowText" lastClr="000000"/>
      </a:dk1>
      <a:lt1>
        <a:sysClr val="window" lastClr="FFFFFF"/>
      </a:lt1>
      <a:dk2>
        <a:srgbClr val="FCBC67"/>
      </a:dk2>
      <a:lt2>
        <a:srgbClr val="767676"/>
      </a:lt2>
      <a:accent1>
        <a:srgbClr val="D4496A"/>
      </a:accent1>
      <a:accent2>
        <a:srgbClr val="952741"/>
      </a:accent2>
      <a:accent3>
        <a:srgbClr val="E8A6B6"/>
      </a:accent3>
      <a:accent4>
        <a:srgbClr val="FDF6F8"/>
      </a:accent4>
      <a:accent5>
        <a:srgbClr val="E6E6E6"/>
      </a:accent5>
      <a:accent6>
        <a:srgbClr val="B2B2B2"/>
      </a:accent6>
      <a:hlink>
        <a:srgbClr val="B2B2B2"/>
      </a:hlink>
      <a:folHlink>
        <a:srgbClr val="767676"/>
      </a:folHlink>
    </a:clrScheme>
    <a:fontScheme name="LichtBlick">
      <a:majorFont>
        <a:latin typeface="Officina Sans ITC Pro Medium"/>
        <a:ea typeface=""/>
        <a:cs typeface=""/>
      </a:majorFont>
      <a:minorFont>
        <a:latin typeface="Inte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accent5"/>
        </a:solidFill>
        <a:ln w="3175">
          <a:noFill/>
        </a:ln>
      </a:spPr>
      <a:bodyPr lIns="72000" tIns="72000" rIns="72000" bIns="72000" rtlCol="0" anchor="ctr"/>
      <a:lstStyle>
        <a:defPPr algn="ctr">
          <a:spcBef>
            <a:spcPts val="300"/>
          </a:spcBef>
          <a:spcAft>
            <a:spcPts val="300"/>
          </a:spcAft>
          <a:defRPr sz="1200" dirty="0" err="1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9050" cap="rnd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defRPr sz="12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LichtBlick_Template_05_EXP" id="{0F7EAF39-9DCE-4BDF-A5F4-5F2553C98C4F}" vid="{EC76B6A2-CFEF-468F-A488-BD1F9ADEF577}"/>
    </a:ext>
  </a:extLst>
</a:theme>
</file>

<file path=ppt/theme/theme3.xml><?xml version="1.0" encoding="utf-8"?>
<a:theme xmlns:a="http://schemas.openxmlformats.org/drawingml/2006/main" name="Aqua_LichtBlick_Template_2020">
  <a:themeElements>
    <a:clrScheme name="Custom 2">
      <a:dk1>
        <a:sysClr val="windowText" lastClr="000000"/>
      </a:dk1>
      <a:lt1>
        <a:sysClr val="window" lastClr="FFFFFF"/>
      </a:lt1>
      <a:dk2>
        <a:srgbClr val="FCBC67"/>
      </a:dk2>
      <a:lt2>
        <a:srgbClr val="767676"/>
      </a:lt2>
      <a:accent1>
        <a:srgbClr val="0BA3C1"/>
      </a:accent1>
      <a:accent2>
        <a:srgbClr val="087A91"/>
      </a:accent2>
      <a:accent3>
        <a:srgbClr val="75C1D0"/>
      </a:accent3>
      <a:accent4>
        <a:srgbClr val="F1F9FA"/>
      </a:accent4>
      <a:accent5>
        <a:srgbClr val="E6E6E6"/>
      </a:accent5>
      <a:accent6>
        <a:srgbClr val="B2B2B2"/>
      </a:accent6>
      <a:hlink>
        <a:srgbClr val="B2B2B2"/>
      </a:hlink>
      <a:folHlink>
        <a:srgbClr val="767676"/>
      </a:folHlink>
    </a:clrScheme>
    <a:fontScheme name="LichtBlick">
      <a:majorFont>
        <a:latin typeface="Officina Sans ITC Pro Medium"/>
        <a:ea typeface=""/>
        <a:cs typeface=""/>
      </a:majorFont>
      <a:minorFont>
        <a:latin typeface="Inte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accent5"/>
        </a:solidFill>
        <a:ln w="3175">
          <a:noFill/>
        </a:ln>
      </a:spPr>
      <a:bodyPr lIns="72000" tIns="72000" rIns="72000" bIns="72000" rtlCol="0" anchor="ctr"/>
      <a:lstStyle>
        <a:defPPr algn="ctr">
          <a:spcBef>
            <a:spcPts val="300"/>
          </a:spcBef>
          <a:spcAft>
            <a:spcPts val="300"/>
          </a:spcAft>
          <a:defRPr sz="1200" dirty="0" err="1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9050" cap="rnd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defRPr sz="12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LichtBlick_Template_05_EXP" id="{0F7EAF39-9DCE-4BDF-A5F4-5F2553C98C4F}" vid="{410C14E0-2DFF-4CED-BC1A-42EBBF7C9E1C}"/>
    </a:ext>
  </a:extLst>
</a:theme>
</file>

<file path=ppt/theme/theme4.xml><?xml version="1.0" encoding="utf-8"?>
<a:theme xmlns:a="http://schemas.openxmlformats.org/drawingml/2006/main" name="Grün_LichtBlick_Template_2020">
  <a:themeElements>
    <a:clrScheme name="Custom 3">
      <a:dk1>
        <a:sysClr val="windowText" lastClr="000000"/>
      </a:dk1>
      <a:lt1>
        <a:sysClr val="window" lastClr="FFFFFF"/>
      </a:lt1>
      <a:dk2>
        <a:srgbClr val="FCBC67"/>
      </a:dk2>
      <a:lt2>
        <a:srgbClr val="767676"/>
      </a:lt2>
      <a:accent1>
        <a:srgbClr val="077144"/>
      </a:accent1>
      <a:accent2>
        <a:srgbClr val="054D2E"/>
      </a:accent2>
      <a:accent3>
        <a:srgbClr val="7CC199"/>
      </a:accent3>
      <a:accent4>
        <a:srgbClr val="F2F9F5"/>
      </a:accent4>
      <a:accent5>
        <a:srgbClr val="E6E6E6"/>
      </a:accent5>
      <a:accent6>
        <a:srgbClr val="B2B2B2"/>
      </a:accent6>
      <a:hlink>
        <a:srgbClr val="B2B2B2"/>
      </a:hlink>
      <a:folHlink>
        <a:srgbClr val="767676"/>
      </a:folHlink>
    </a:clrScheme>
    <a:fontScheme name="LichtBlick">
      <a:majorFont>
        <a:latin typeface="Officina Sans ITC Pro Medium"/>
        <a:ea typeface=""/>
        <a:cs typeface=""/>
      </a:majorFont>
      <a:minorFont>
        <a:latin typeface="Inte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accent5"/>
        </a:solidFill>
        <a:ln w="3175">
          <a:noFill/>
        </a:ln>
      </a:spPr>
      <a:bodyPr lIns="72000" tIns="72000" rIns="72000" bIns="72000" rtlCol="0" anchor="ctr"/>
      <a:lstStyle>
        <a:defPPr algn="ctr">
          <a:spcBef>
            <a:spcPts val="300"/>
          </a:spcBef>
          <a:spcAft>
            <a:spcPts val="300"/>
          </a:spcAft>
          <a:defRPr sz="1200" dirty="0" err="1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9050" cap="rnd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defRPr sz="12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LichtBlick_Template_05_EXP" id="{0F7EAF39-9DCE-4BDF-A5F4-5F2553C98C4F}" vid="{8510FF94-ADB9-4DE0-8BF6-A111B594D94C}"/>
    </a:ext>
  </a:extLst>
</a:theme>
</file>

<file path=ppt/theme/theme5.xml><?xml version="1.0" encoding="utf-8"?>
<a:theme xmlns:a="http://schemas.openxmlformats.org/drawingml/2006/main" name="Moss_LichtBlick_Template_2020">
  <a:themeElements>
    <a:clrScheme name="Moss">
      <a:dk1>
        <a:sysClr val="windowText" lastClr="000000"/>
      </a:dk1>
      <a:lt1>
        <a:sysClr val="window" lastClr="FFFFFF"/>
      </a:lt1>
      <a:dk2>
        <a:srgbClr val="FCBC67"/>
      </a:dk2>
      <a:lt2>
        <a:srgbClr val="767676"/>
      </a:lt2>
      <a:accent1>
        <a:srgbClr val="658A7C"/>
      </a:accent1>
      <a:accent2>
        <a:srgbClr val="3A5047"/>
      </a:accent2>
      <a:accent3>
        <a:srgbClr val="9EB8AE"/>
      </a:accent3>
      <a:accent4>
        <a:srgbClr val="F5F8F7"/>
      </a:accent4>
      <a:accent5>
        <a:srgbClr val="E6E6E6"/>
      </a:accent5>
      <a:accent6>
        <a:srgbClr val="B2B2B2"/>
      </a:accent6>
      <a:hlink>
        <a:srgbClr val="E6E6E6"/>
      </a:hlink>
      <a:folHlink>
        <a:srgbClr val="767676"/>
      </a:folHlink>
    </a:clrScheme>
    <a:fontScheme name="LichtBlick">
      <a:majorFont>
        <a:latin typeface="Officina Sans ITC Pro Medium"/>
        <a:ea typeface=""/>
        <a:cs typeface=""/>
      </a:majorFont>
      <a:minorFont>
        <a:latin typeface="Inte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accent5"/>
        </a:solidFill>
        <a:ln w="3175">
          <a:noFill/>
        </a:ln>
      </a:spPr>
      <a:bodyPr lIns="72000" tIns="72000" rIns="72000" bIns="72000" rtlCol="0" anchor="ctr"/>
      <a:lstStyle>
        <a:defPPr algn="ctr">
          <a:spcBef>
            <a:spcPts val="300"/>
          </a:spcBef>
          <a:spcAft>
            <a:spcPts val="300"/>
          </a:spcAft>
          <a:defRPr sz="1200" dirty="0" err="1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9050" cap="rnd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defRPr sz="12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LichtBlick_Template_05_EXP" id="{0F7EAF39-9DCE-4BDF-A5F4-5F2553C98C4F}" vid="{DC774BBB-5BD2-4EDB-B168-87E7EF27B3CB}"/>
    </a:ext>
  </a:extLst>
</a:theme>
</file>

<file path=ppt/theme/theme6.xml><?xml version="1.0" encoding="utf-8"?>
<a:theme xmlns:a="http://schemas.openxmlformats.org/drawingml/2006/main" name="1_Smoke_LichtBlick_Template_2020">
  <a:themeElements>
    <a:clrScheme name="Smoke_LichtBlick">
      <a:dk1>
        <a:sysClr val="windowText" lastClr="000000"/>
      </a:dk1>
      <a:lt1>
        <a:sysClr val="window" lastClr="FFFFFF"/>
      </a:lt1>
      <a:dk2>
        <a:srgbClr val="FCBC67"/>
      </a:dk2>
      <a:lt2>
        <a:srgbClr val="767676"/>
      </a:lt2>
      <a:accent1>
        <a:srgbClr val="465B68"/>
      </a:accent1>
      <a:accent2>
        <a:srgbClr val="313C49"/>
      </a:accent2>
      <a:accent3>
        <a:srgbClr val="7390A1"/>
      </a:accent3>
      <a:accent4>
        <a:srgbClr val="F1F4F6"/>
      </a:accent4>
      <a:accent5>
        <a:srgbClr val="E6E6E6"/>
      </a:accent5>
      <a:accent6>
        <a:srgbClr val="B2B2B2"/>
      </a:accent6>
      <a:hlink>
        <a:srgbClr val="E6E6E6"/>
      </a:hlink>
      <a:folHlink>
        <a:srgbClr val="767676"/>
      </a:folHlink>
    </a:clrScheme>
    <a:fontScheme name="LichtBlick">
      <a:majorFont>
        <a:latin typeface="Officina Sans ITC Pro Medium"/>
        <a:ea typeface=""/>
        <a:cs typeface=""/>
      </a:majorFont>
      <a:minorFont>
        <a:latin typeface="Inte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accent5"/>
        </a:solidFill>
        <a:ln w="3175">
          <a:noFill/>
        </a:ln>
      </a:spPr>
      <a:bodyPr lIns="72000" tIns="72000" rIns="72000" bIns="72000" rtlCol="0" anchor="ctr"/>
      <a:lstStyle>
        <a:defPPr algn="ctr">
          <a:spcBef>
            <a:spcPts val="300"/>
          </a:spcBef>
          <a:spcAft>
            <a:spcPts val="300"/>
          </a:spcAft>
          <a:defRPr sz="1200" dirty="0" err="1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9050" cap="rnd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defRPr sz="12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LichtBlick_Template_05_EXP" id="{0F7EAF39-9DCE-4BDF-A5F4-5F2553C98C4F}" vid="{044C27C9-68D0-4512-BF2A-9E6368743E68}"/>
    </a:ext>
  </a:extLst>
</a:theme>
</file>

<file path=ppt/theme/theme7.xml><?xml version="1.0" encoding="utf-8"?>
<a:theme xmlns:a="http://schemas.openxmlformats.org/drawingml/2006/main" name="Office">
  <a:themeElements>
    <a:clrScheme name="LichtBlick 2019">
      <a:dk1>
        <a:srgbClr val="4D4D4D"/>
      </a:dk1>
      <a:lt1>
        <a:srgbClr val="FFFFFF"/>
      </a:lt1>
      <a:dk2>
        <a:srgbClr val="203F99"/>
      </a:dk2>
      <a:lt2>
        <a:srgbClr val="FFFFFF"/>
      </a:lt2>
      <a:accent1>
        <a:srgbClr val="203F99"/>
      </a:accent1>
      <a:accent2>
        <a:srgbClr val="F5881D"/>
      </a:accent2>
      <a:accent3>
        <a:srgbClr val="30762A"/>
      </a:accent3>
      <a:accent4>
        <a:srgbClr val="A7AAAD"/>
      </a:accent4>
      <a:accent5>
        <a:srgbClr val="127DCD"/>
      </a:accent5>
      <a:accent6>
        <a:srgbClr val="DCDCDC"/>
      </a:accent6>
      <a:hlink>
        <a:srgbClr val="203F99"/>
      </a:hlink>
      <a:folHlink>
        <a:srgbClr val="4D4D4D"/>
      </a:folHlink>
    </a:clrScheme>
    <a:fontScheme name="LichtBlick 2019">
      <a:majorFont>
        <a:latin typeface="Franklin Gothic Medium"/>
        <a:ea typeface=""/>
        <a:cs typeface=""/>
      </a:majorFont>
      <a:minorFont>
        <a:latin typeface="Franklin Gothic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">
  <a:themeElements>
    <a:clrScheme name="LichtBlick 2019">
      <a:dk1>
        <a:srgbClr val="4D4D4D"/>
      </a:dk1>
      <a:lt1>
        <a:srgbClr val="FFFFFF"/>
      </a:lt1>
      <a:dk2>
        <a:srgbClr val="203F99"/>
      </a:dk2>
      <a:lt2>
        <a:srgbClr val="FFFFFF"/>
      </a:lt2>
      <a:accent1>
        <a:srgbClr val="203F99"/>
      </a:accent1>
      <a:accent2>
        <a:srgbClr val="F5881D"/>
      </a:accent2>
      <a:accent3>
        <a:srgbClr val="30762A"/>
      </a:accent3>
      <a:accent4>
        <a:srgbClr val="A7AAAD"/>
      </a:accent4>
      <a:accent5>
        <a:srgbClr val="127DCD"/>
      </a:accent5>
      <a:accent6>
        <a:srgbClr val="DCDCDC"/>
      </a:accent6>
      <a:hlink>
        <a:srgbClr val="203F99"/>
      </a:hlink>
      <a:folHlink>
        <a:srgbClr val="4D4D4D"/>
      </a:folHlink>
    </a:clrScheme>
    <a:fontScheme name="LichtBlick 2019">
      <a:majorFont>
        <a:latin typeface="Franklin Gothic Medium"/>
        <a:ea typeface=""/>
        <a:cs typeface=""/>
      </a:majorFont>
      <a:minorFont>
        <a:latin typeface="Franklin Gothic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D777D23055C419408870B09E00DE41E1" ma:contentTypeVersion="11" ma:contentTypeDescription="Ein neues Dokument erstellen." ma:contentTypeScope="" ma:versionID="57d721f04dbde67e4dc12e6bb5c4cc01">
  <xsd:schema xmlns:xsd="http://www.w3.org/2001/XMLSchema" xmlns:xs="http://www.w3.org/2001/XMLSchema" xmlns:p="http://schemas.microsoft.com/office/2006/metadata/properties" xmlns:ns2="9c36172c-1e76-4b5d-9cf8-e6ea08d4a28a" xmlns:ns3="5810f87c-5167-4216-adbc-6c901e337368" targetNamespace="http://schemas.microsoft.com/office/2006/metadata/properties" ma:root="true" ma:fieldsID="e1305c8ece917a5d62aef8b22c857bfa" ns2:_="" ns3:_="">
    <xsd:import namespace="9c36172c-1e76-4b5d-9cf8-e6ea08d4a28a"/>
    <xsd:import namespace="5810f87c-5167-4216-adbc-6c901e33736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c36172c-1e76-4b5d-9cf8-e6ea08d4a28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810f87c-5167-4216-adbc-6c901e337368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D9877900-3A96-462E-9D1F-6B1F8C911CBB}">
  <ds:schemaRefs>
    <ds:schemaRef ds:uri="5810f87c-5167-4216-adbc-6c901e337368"/>
    <ds:schemaRef ds:uri="9c36172c-1e76-4b5d-9cf8-e6ea08d4a28a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4529CCBC-F3CB-41EE-8199-7E8DFA5D884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6779671-A497-4CF7-942E-A9D832018801}">
  <ds:schemaRefs>
    <ds:schemaRef ds:uri="5810f87c-5167-4216-adbc-6c901e337368"/>
    <ds:schemaRef ds:uri="9c36172c-1e76-4b5d-9cf8-e6ea08d4a28a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673</Words>
  <Application>Microsoft Office PowerPoint</Application>
  <PresentationFormat>Widescreen</PresentationFormat>
  <Paragraphs>135</Paragraphs>
  <Slides>7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22" baseType="lpstr">
      <vt:lpstr>Arial</vt:lpstr>
      <vt:lpstr>Calibri</vt:lpstr>
      <vt:lpstr>Franklin Gothic Book</vt:lpstr>
      <vt:lpstr>Franklin Gothic Medium</vt:lpstr>
      <vt:lpstr>Inter</vt:lpstr>
      <vt:lpstr>Inter Semi Bold</vt:lpstr>
      <vt:lpstr>Officina Sans ITC Pro Medium</vt:lpstr>
      <vt:lpstr>Symbol</vt:lpstr>
      <vt:lpstr>Smoke_LichtBlick_Template_2020</vt:lpstr>
      <vt:lpstr>Berry_LichtBlick_Template_2020</vt:lpstr>
      <vt:lpstr>Aqua_LichtBlick_Template_2020</vt:lpstr>
      <vt:lpstr>Grün_LichtBlick_Template_2020</vt:lpstr>
      <vt:lpstr>Moss_LichtBlick_Template_2020</vt:lpstr>
      <vt:lpstr>1_Smoke_LichtBlick_Template_2020</vt:lpstr>
      <vt:lpstr>think-cell Folie</vt:lpstr>
      <vt:lpstr>In Focus:  Weather effects 2021-Q4</vt:lpstr>
      <vt:lpstr>Temperature-dependent B2C portfolios in 2021-Q4 </vt:lpstr>
      <vt:lpstr>Temperature-dependent B2C portfolios in 2021-Q4 </vt:lpstr>
      <vt:lpstr>Spot prices</vt:lpstr>
      <vt:lpstr>Temperatures</vt:lpstr>
      <vt:lpstr>Weather influence on portfolio results</vt:lpstr>
      <vt:lpstr>Influence of temperature-driven volume deviation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Peter Backeberg</dc:creator>
  <cp:lastModifiedBy>Ruud Wijtvliet</cp:lastModifiedBy>
  <cp:revision>1</cp:revision>
  <cp:lastPrinted>2020-09-07T12:37:18Z</cp:lastPrinted>
  <dcterms:created xsi:type="dcterms:W3CDTF">2019-04-02T12:41:47Z</dcterms:created>
  <dcterms:modified xsi:type="dcterms:W3CDTF">2022-01-13T12:32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777D23055C419408870B09E00DE41E1</vt:lpwstr>
  </property>
</Properties>
</file>